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85" r:id="rId2"/>
    <p:sldMasterId id="2147483710" r:id="rId3"/>
    <p:sldMasterId id="2147483734" r:id="rId4"/>
  </p:sldMasterIdLst>
  <p:sldIdLst>
    <p:sldId id="256" r:id="rId5"/>
    <p:sldId id="258" r:id="rId6"/>
    <p:sldId id="259" r:id="rId7"/>
    <p:sldId id="274" r:id="rId8"/>
    <p:sldId id="261" r:id="rId9"/>
    <p:sldId id="263" r:id="rId10"/>
    <p:sldId id="264" r:id="rId11"/>
    <p:sldId id="277" r:id="rId12"/>
    <p:sldId id="278" r:id="rId13"/>
    <p:sldId id="268" r:id="rId14"/>
    <p:sldId id="257" r:id="rId15"/>
    <p:sldId id="279" r:id="rId16"/>
    <p:sldId id="280" r:id="rId17"/>
    <p:sldId id="272" r:id="rId18"/>
    <p:sldId id="269" r:id="rId19"/>
    <p:sldId id="271" r:id="rId20"/>
    <p:sldId id="262" r:id="rId21"/>
    <p:sldId id="265" r:id="rId22"/>
    <p:sldId id="276" r:id="rId23"/>
    <p:sldId id="266" r:id="rId24"/>
    <p:sldId id="275" r:id="rId25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 snapToObjects="1">
      <p:cViewPr varScale="1">
        <p:scale>
          <a:sx n="105" d="100"/>
          <a:sy n="105" d="100"/>
        </p:scale>
        <p:origin x="1830" y="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/Relationships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svg"/><Relationship Id="rId3" Type="http://schemas.openxmlformats.org/officeDocument/2006/relationships/image" Target="../media/image37.png"/><Relationship Id="rId7" Type="http://schemas.openxmlformats.org/officeDocument/2006/relationships/image" Target="../media/image41.png"/><Relationship Id="rId12" Type="http://schemas.openxmlformats.org/officeDocument/2006/relationships/image" Target="../media/image46.svg"/><Relationship Id="rId2" Type="http://schemas.openxmlformats.org/officeDocument/2006/relationships/image" Target="../media/image36.svg"/><Relationship Id="rId1" Type="http://schemas.openxmlformats.org/officeDocument/2006/relationships/image" Target="../media/image35.png"/><Relationship Id="rId6" Type="http://schemas.openxmlformats.org/officeDocument/2006/relationships/image" Target="../media/image40.svg"/><Relationship Id="rId11" Type="http://schemas.openxmlformats.org/officeDocument/2006/relationships/image" Target="../media/image45.png"/><Relationship Id="rId5" Type="http://schemas.openxmlformats.org/officeDocument/2006/relationships/image" Target="../media/image39.png"/><Relationship Id="rId10" Type="http://schemas.openxmlformats.org/officeDocument/2006/relationships/image" Target="../media/image44.svg"/><Relationship Id="rId4" Type="http://schemas.openxmlformats.org/officeDocument/2006/relationships/image" Target="../media/image38.svg"/><Relationship Id="rId9" Type="http://schemas.openxmlformats.org/officeDocument/2006/relationships/image" Target="../media/image43.png"/></Relationships>
</file>

<file path=ppt/diagrams/_rels/data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svg"/><Relationship Id="rId3" Type="http://schemas.openxmlformats.org/officeDocument/2006/relationships/image" Target="../media/image51.png"/><Relationship Id="rId7" Type="http://schemas.openxmlformats.org/officeDocument/2006/relationships/image" Target="../media/image55.png"/><Relationship Id="rId2" Type="http://schemas.openxmlformats.org/officeDocument/2006/relationships/image" Target="../media/image50.svg"/><Relationship Id="rId1" Type="http://schemas.openxmlformats.org/officeDocument/2006/relationships/image" Target="../media/image49.png"/><Relationship Id="rId6" Type="http://schemas.openxmlformats.org/officeDocument/2006/relationships/image" Target="../media/image54.svg"/><Relationship Id="rId5" Type="http://schemas.openxmlformats.org/officeDocument/2006/relationships/image" Target="../media/image53.png"/><Relationship Id="rId10" Type="http://schemas.openxmlformats.org/officeDocument/2006/relationships/image" Target="../media/image58.svg"/><Relationship Id="rId4" Type="http://schemas.openxmlformats.org/officeDocument/2006/relationships/image" Target="../media/image52.svg"/><Relationship Id="rId9" Type="http://schemas.openxmlformats.org/officeDocument/2006/relationships/image" Target="../media/image57.png"/></Relationships>
</file>

<file path=ppt/diagrams/_rels/data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svg"/><Relationship Id="rId13" Type="http://schemas.openxmlformats.org/officeDocument/2006/relationships/image" Target="../media/image71.png"/><Relationship Id="rId3" Type="http://schemas.openxmlformats.org/officeDocument/2006/relationships/image" Target="../media/image61.png"/><Relationship Id="rId7" Type="http://schemas.openxmlformats.org/officeDocument/2006/relationships/image" Target="../media/image65.png"/><Relationship Id="rId12" Type="http://schemas.openxmlformats.org/officeDocument/2006/relationships/image" Target="../media/image70.svg"/><Relationship Id="rId2" Type="http://schemas.openxmlformats.org/officeDocument/2006/relationships/image" Target="../media/image60.svg"/><Relationship Id="rId1" Type="http://schemas.openxmlformats.org/officeDocument/2006/relationships/image" Target="../media/image59.png"/><Relationship Id="rId6" Type="http://schemas.openxmlformats.org/officeDocument/2006/relationships/image" Target="../media/image64.svg"/><Relationship Id="rId11" Type="http://schemas.openxmlformats.org/officeDocument/2006/relationships/image" Target="../media/image69.png"/><Relationship Id="rId5" Type="http://schemas.openxmlformats.org/officeDocument/2006/relationships/image" Target="../media/image63.png"/><Relationship Id="rId10" Type="http://schemas.openxmlformats.org/officeDocument/2006/relationships/image" Target="../media/image68.svg"/><Relationship Id="rId4" Type="http://schemas.openxmlformats.org/officeDocument/2006/relationships/image" Target="../media/image62.svg"/><Relationship Id="rId9" Type="http://schemas.openxmlformats.org/officeDocument/2006/relationships/image" Target="../media/image67.png"/><Relationship Id="rId14" Type="http://schemas.openxmlformats.org/officeDocument/2006/relationships/image" Target="../media/image72.svg"/></Relationships>
</file>

<file path=ppt/diagrams/_rels/data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svg"/><Relationship Id="rId3" Type="http://schemas.openxmlformats.org/officeDocument/2006/relationships/image" Target="../media/image59.png"/><Relationship Id="rId7" Type="http://schemas.openxmlformats.org/officeDocument/2006/relationships/image" Target="../media/image63.png"/><Relationship Id="rId12" Type="http://schemas.openxmlformats.org/officeDocument/2006/relationships/image" Target="../media/image78.svg"/><Relationship Id="rId2" Type="http://schemas.openxmlformats.org/officeDocument/2006/relationships/image" Target="../media/image62.svg"/><Relationship Id="rId1" Type="http://schemas.openxmlformats.org/officeDocument/2006/relationships/image" Target="../media/image61.png"/><Relationship Id="rId6" Type="http://schemas.openxmlformats.org/officeDocument/2006/relationships/image" Target="../media/image74.svg"/><Relationship Id="rId11" Type="http://schemas.openxmlformats.org/officeDocument/2006/relationships/image" Target="../media/image77.png"/><Relationship Id="rId5" Type="http://schemas.openxmlformats.org/officeDocument/2006/relationships/image" Target="../media/image73.png"/><Relationship Id="rId10" Type="http://schemas.openxmlformats.org/officeDocument/2006/relationships/image" Target="../media/image76.svg"/><Relationship Id="rId4" Type="http://schemas.openxmlformats.org/officeDocument/2006/relationships/image" Target="../media/image60.svg"/><Relationship Id="rId9" Type="http://schemas.openxmlformats.org/officeDocument/2006/relationships/image" Target="../media/image75.png"/></Relationships>
</file>

<file path=ppt/diagrams/_rels/data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svg"/><Relationship Id="rId3" Type="http://schemas.openxmlformats.org/officeDocument/2006/relationships/image" Target="../media/image51.png"/><Relationship Id="rId7" Type="http://schemas.openxmlformats.org/officeDocument/2006/relationships/image" Target="../media/image55.png"/><Relationship Id="rId2" Type="http://schemas.openxmlformats.org/officeDocument/2006/relationships/image" Target="../media/image50.svg"/><Relationship Id="rId1" Type="http://schemas.openxmlformats.org/officeDocument/2006/relationships/image" Target="../media/image49.png"/><Relationship Id="rId6" Type="http://schemas.openxmlformats.org/officeDocument/2006/relationships/image" Target="../media/image54.svg"/><Relationship Id="rId5" Type="http://schemas.openxmlformats.org/officeDocument/2006/relationships/image" Target="../media/image53.png"/><Relationship Id="rId10" Type="http://schemas.openxmlformats.org/officeDocument/2006/relationships/image" Target="../media/image58.svg"/><Relationship Id="rId4" Type="http://schemas.openxmlformats.org/officeDocument/2006/relationships/image" Target="../media/image52.svg"/><Relationship Id="rId9" Type="http://schemas.openxmlformats.org/officeDocument/2006/relationships/image" Target="../media/image57.png"/></Relationships>
</file>

<file path=ppt/diagrams/_rels/data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svg"/><Relationship Id="rId13" Type="http://schemas.openxmlformats.org/officeDocument/2006/relationships/image" Target="../media/image88.png"/><Relationship Id="rId3" Type="http://schemas.openxmlformats.org/officeDocument/2006/relationships/image" Target="../media/image81.png"/><Relationship Id="rId7" Type="http://schemas.openxmlformats.org/officeDocument/2006/relationships/image" Target="../media/image41.png"/><Relationship Id="rId12" Type="http://schemas.openxmlformats.org/officeDocument/2006/relationships/image" Target="../media/image87.svg"/><Relationship Id="rId2" Type="http://schemas.openxmlformats.org/officeDocument/2006/relationships/image" Target="../media/image80.svg"/><Relationship Id="rId16" Type="http://schemas.openxmlformats.org/officeDocument/2006/relationships/image" Target="../media/image91.svg"/><Relationship Id="rId1" Type="http://schemas.openxmlformats.org/officeDocument/2006/relationships/image" Target="../media/image79.png"/><Relationship Id="rId6" Type="http://schemas.openxmlformats.org/officeDocument/2006/relationships/image" Target="../media/image84.svg"/><Relationship Id="rId11" Type="http://schemas.openxmlformats.org/officeDocument/2006/relationships/image" Target="../media/image43.png"/><Relationship Id="rId5" Type="http://schemas.openxmlformats.org/officeDocument/2006/relationships/image" Target="../media/image83.png"/><Relationship Id="rId15" Type="http://schemas.openxmlformats.org/officeDocument/2006/relationships/image" Target="../media/image90.png"/><Relationship Id="rId10" Type="http://schemas.openxmlformats.org/officeDocument/2006/relationships/image" Target="../media/image86.svg"/><Relationship Id="rId4" Type="http://schemas.openxmlformats.org/officeDocument/2006/relationships/image" Target="../media/image82.svg"/><Relationship Id="rId9" Type="http://schemas.openxmlformats.org/officeDocument/2006/relationships/image" Target="../media/image37.png"/><Relationship Id="rId14" Type="http://schemas.openxmlformats.org/officeDocument/2006/relationships/image" Target="../media/image89.sv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svg"/><Relationship Id="rId3" Type="http://schemas.openxmlformats.org/officeDocument/2006/relationships/image" Target="../media/image37.png"/><Relationship Id="rId7" Type="http://schemas.openxmlformats.org/officeDocument/2006/relationships/image" Target="../media/image41.png"/><Relationship Id="rId12" Type="http://schemas.openxmlformats.org/officeDocument/2006/relationships/image" Target="../media/image46.svg"/><Relationship Id="rId2" Type="http://schemas.openxmlformats.org/officeDocument/2006/relationships/image" Target="../media/image36.svg"/><Relationship Id="rId1" Type="http://schemas.openxmlformats.org/officeDocument/2006/relationships/image" Target="../media/image35.png"/><Relationship Id="rId6" Type="http://schemas.openxmlformats.org/officeDocument/2006/relationships/image" Target="../media/image40.svg"/><Relationship Id="rId11" Type="http://schemas.openxmlformats.org/officeDocument/2006/relationships/image" Target="../media/image45.png"/><Relationship Id="rId5" Type="http://schemas.openxmlformats.org/officeDocument/2006/relationships/image" Target="../media/image39.png"/><Relationship Id="rId10" Type="http://schemas.openxmlformats.org/officeDocument/2006/relationships/image" Target="../media/image44.svg"/><Relationship Id="rId4" Type="http://schemas.openxmlformats.org/officeDocument/2006/relationships/image" Target="../media/image38.svg"/><Relationship Id="rId9" Type="http://schemas.openxmlformats.org/officeDocument/2006/relationships/image" Target="../media/image43.png"/></Relationships>
</file>

<file path=ppt/diagrams/_rels/drawing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svg"/><Relationship Id="rId3" Type="http://schemas.openxmlformats.org/officeDocument/2006/relationships/image" Target="../media/image51.png"/><Relationship Id="rId7" Type="http://schemas.openxmlformats.org/officeDocument/2006/relationships/image" Target="../media/image55.png"/><Relationship Id="rId2" Type="http://schemas.openxmlformats.org/officeDocument/2006/relationships/image" Target="../media/image50.svg"/><Relationship Id="rId1" Type="http://schemas.openxmlformats.org/officeDocument/2006/relationships/image" Target="../media/image49.png"/><Relationship Id="rId6" Type="http://schemas.openxmlformats.org/officeDocument/2006/relationships/image" Target="../media/image54.svg"/><Relationship Id="rId5" Type="http://schemas.openxmlformats.org/officeDocument/2006/relationships/image" Target="../media/image53.png"/><Relationship Id="rId10" Type="http://schemas.openxmlformats.org/officeDocument/2006/relationships/image" Target="../media/image58.svg"/><Relationship Id="rId4" Type="http://schemas.openxmlformats.org/officeDocument/2006/relationships/image" Target="../media/image52.svg"/><Relationship Id="rId9" Type="http://schemas.openxmlformats.org/officeDocument/2006/relationships/image" Target="../media/image57.png"/></Relationships>
</file>

<file path=ppt/diagrams/_rels/drawing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svg"/><Relationship Id="rId13" Type="http://schemas.openxmlformats.org/officeDocument/2006/relationships/image" Target="../media/image71.png"/><Relationship Id="rId3" Type="http://schemas.openxmlformats.org/officeDocument/2006/relationships/image" Target="../media/image61.png"/><Relationship Id="rId7" Type="http://schemas.openxmlformats.org/officeDocument/2006/relationships/image" Target="../media/image65.png"/><Relationship Id="rId12" Type="http://schemas.openxmlformats.org/officeDocument/2006/relationships/image" Target="../media/image70.svg"/><Relationship Id="rId2" Type="http://schemas.openxmlformats.org/officeDocument/2006/relationships/image" Target="../media/image60.svg"/><Relationship Id="rId1" Type="http://schemas.openxmlformats.org/officeDocument/2006/relationships/image" Target="../media/image59.png"/><Relationship Id="rId6" Type="http://schemas.openxmlformats.org/officeDocument/2006/relationships/image" Target="../media/image64.svg"/><Relationship Id="rId11" Type="http://schemas.openxmlformats.org/officeDocument/2006/relationships/image" Target="../media/image69.png"/><Relationship Id="rId5" Type="http://schemas.openxmlformats.org/officeDocument/2006/relationships/image" Target="../media/image63.png"/><Relationship Id="rId10" Type="http://schemas.openxmlformats.org/officeDocument/2006/relationships/image" Target="../media/image68.svg"/><Relationship Id="rId4" Type="http://schemas.openxmlformats.org/officeDocument/2006/relationships/image" Target="../media/image62.svg"/><Relationship Id="rId9" Type="http://schemas.openxmlformats.org/officeDocument/2006/relationships/image" Target="../media/image67.png"/><Relationship Id="rId14" Type="http://schemas.openxmlformats.org/officeDocument/2006/relationships/image" Target="../media/image72.svg"/></Relationships>
</file>

<file path=ppt/diagrams/_rels/drawing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svg"/><Relationship Id="rId3" Type="http://schemas.openxmlformats.org/officeDocument/2006/relationships/image" Target="../media/image59.png"/><Relationship Id="rId7" Type="http://schemas.openxmlformats.org/officeDocument/2006/relationships/image" Target="../media/image63.png"/><Relationship Id="rId12" Type="http://schemas.openxmlformats.org/officeDocument/2006/relationships/image" Target="../media/image78.svg"/><Relationship Id="rId2" Type="http://schemas.openxmlformats.org/officeDocument/2006/relationships/image" Target="../media/image62.svg"/><Relationship Id="rId1" Type="http://schemas.openxmlformats.org/officeDocument/2006/relationships/image" Target="../media/image61.png"/><Relationship Id="rId6" Type="http://schemas.openxmlformats.org/officeDocument/2006/relationships/image" Target="../media/image74.svg"/><Relationship Id="rId11" Type="http://schemas.openxmlformats.org/officeDocument/2006/relationships/image" Target="../media/image77.png"/><Relationship Id="rId5" Type="http://schemas.openxmlformats.org/officeDocument/2006/relationships/image" Target="../media/image73.png"/><Relationship Id="rId10" Type="http://schemas.openxmlformats.org/officeDocument/2006/relationships/image" Target="../media/image76.svg"/><Relationship Id="rId4" Type="http://schemas.openxmlformats.org/officeDocument/2006/relationships/image" Target="../media/image60.svg"/><Relationship Id="rId9" Type="http://schemas.openxmlformats.org/officeDocument/2006/relationships/image" Target="../media/image75.png"/></Relationships>
</file>

<file path=ppt/diagrams/_rels/drawing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svg"/><Relationship Id="rId3" Type="http://schemas.openxmlformats.org/officeDocument/2006/relationships/image" Target="../media/image51.png"/><Relationship Id="rId7" Type="http://schemas.openxmlformats.org/officeDocument/2006/relationships/image" Target="../media/image55.png"/><Relationship Id="rId2" Type="http://schemas.openxmlformats.org/officeDocument/2006/relationships/image" Target="../media/image50.svg"/><Relationship Id="rId1" Type="http://schemas.openxmlformats.org/officeDocument/2006/relationships/image" Target="../media/image49.png"/><Relationship Id="rId6" Type="http://schemas.openxmlformats.org/officeDocument/2006/relationships/image" Target="../media/image54.svg"/><Relationship Id="rId5" Type="http://schemas.openxmlformats.org/officeDocument/2006/relationships/image" Target="../media/image53.png"/><Relationship Id="rId10" Type="http://schemas.openxmlformats.org/officeDocument/2006/relationships/image" Target="../media/image58.svg"/><Relationship Id="rId4" Type="http://schemas.openxmlformats.org/officeDocument/2006/relationships/image" Target="../media/image52.svg"/><Relationship Id="rId9" Type="http://schemas.openxmlformats.org/officeDocument/2006/relationships/image" Target="../media/image57.png"/></Relationships>
</file>

<file path=ppt/diagrams/_rels/drawing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svg"/><Relationship Id="rId13" Type="http://schemas.openxmlformats.org/officeDocument/2006/relationships/image" Target="../media/image88.png"/><Relationship Id="rId3" Type="http://schemas.openxmlformats.org/officeDocument/2006/relationships/image" Target="../media/image81.png"/><Relationship Id="rId7" Type="http://schemas.openxmlformats.org/officeDocument/2006/relationships/image" Target="../media/image41.png"/><Relationship Id="rId12" Type="http://schemas.openxmlformats.org/officeDocument/2006/relationships/image" Target="../media/image87.svg"/><Relationship Id="rId2" Type="http://schemas.openxmlformats.org/officeDocument/2006/relationships/image" Target="../media/image80.svg"/><Relationship Id="rId16" Type="http://schemas.openxmlformats.org/officeDocument/2006/relationships/image" Target="../media/image91.svg"/><Relationship Id="rId1" Type="http://schemas.openxmlformats.org/officeDocument/2006/relationships/image" Target="../media/image79.png"/><Relationship Id="rId6" Type="http://schemas.openxmlformats.org/officeDocument/2006/relationships/image" Target="../media/image84.svg"/><Relationship Id="rId11" Type="http://schemas.openxmlformats.org/officeDocument/2006/relationships/image" Target="../media/image43.png"/><Relationship Id="rId5" Type="http://schemas.openxmlformats.org/officeDocument/2006/relationships/image" Target="../media/image83.png"/><Relationship Id="rId15" Type="http://schemas.openxmlformats.org/officeDocument/2006/relationships/image" Target="../media/image90.png"/><Relationship Id="rId10" Type="http://schemas.openxmlformats.org/officeDocument/2006/relationships/image" Target="../media/image86.svg"/><Relationship Id="rId4" Type="http://schemas.openxmlformats.org/officeDocument/2006/relationships/image" Target="../media/image82.svg"/><Relationship Id="rId9" Type="http://schemas.openxmlformats.org/officeDocument/2006/relationships/image" Target="../media/image37.png"/><Relationship Id="rId14" Type="http://schemas.openxmlformats.org/officeDocument/2006/relationships/image" Target="../media/image89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4E86407-B80E-412E-899E-767BB9842188}" type="doc">
      <dgm:prSet loTypeId="urn:microsoft.com/office/officeart/2018/2/layout/IconCircleList" loCatId="icon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en-US"/>
        </a:p>
      </dgm:t>
    </dgm:pt>
    <dgm:pt modelId="{F3C8FADE-7184-446A-93B2-B16A46BA6F9E}">
      <dgm:prSet/>
      <dgm:spPr/>
      <dgm:t>
        <a:bodyPr/>
        <a:lstStyle/>
        <a:p>
          <a:r>
            <a:rPr lang="en-US"/>
            <a:t>Evaluates ML model performance for classification and regression tasks with metrics like Accuracy, F1-Score, RMSE, and R²</a:t>
          </a:r>
        </a:p>
      </dgm:t>
    </dgm:pt>
    <dgm:pt modelId="{C6F1180F-2B86-4FE1-91E2-4E81697691BD}" type="parTrans" cxnId="{04A594B8-D1D5-4B7F-A794-30A1BEE41A2F}">
      <dgm:prSet/>
      <dgm:spPr/>
      <dgm:t>
        <a:bodyPr/>
        <a:lstStyle/>
        <a:p>
          <a:endParaRPr lang="en-US"/>
        </a:p>
      </dgm:t>
    </dgm:pt>
    <dgm:pt modelId="{FD6A539C-B1FA-4ABB-B568-AA1A6F7D9697}" type="sibTrans" cxnId="{04A594B8-D1D5-4B7F-A794-30A1BEE41A2F}">
      <dgm:prSet/>
      <dgm:spPr/>
      <dgm:t>
        <a:bodyPr/>
        <a:lstStyle/>
        <a:p>
          <a:endParaRPr lang="en-US"/>
        </a:p>
      </dgm:t>
    </dgm:pt>
    <dgm:pt modelId="{BF0B74D6-EE02-42DD-911F-185EB790F1A0}">
      <dgm:prSet/>
      <dgm:spPr/>
      <dgm:t>
        <a:bodyPr/>
        <a:lstStyle/>
        <a:p>
          <a:r>
            <a:rPr lang="en-US" dirty="0"/>
            <a:t>Seamlessly integrates with MLflow and Pickle model artifacts to fit diverse ML workflows</a:t>
          </a:r>
        </a:p>
      </dgm:t>
    </dgm:pt>
    <dgm:pt modelId="{26D8AFE0-5ACC-43F8-9902-A6F8D586FEA3}" type="parTrans" cxnId="{06C83B95-7792-4935-AEE6-472FBA61C3F0}">
      <dgm:prSet/>
      <dgm:spPr/>
      <dgm:t>
        <a:bodyPr/>
        <a:lstStyle/>
        <a:p>
          <a:endParaRPr lang="en-US"/>
        </a:p>
      </dgm:t>
    </dgm:pt>
    <dgm:pt modelId="{2027FCF0-EEA8-48B5-A06D-920B84FC5ADB}" type="sibTrans" cxnId="{06C83B95-7792-4935-AEE6-472FBA61C3F0}">
      <dgm:prSet/>
      <dgm:spPr/>
      <dgm:t>
        <a:bodyPr/>
        <a:lstStyle/>
        <a:p>
          <a:endParaRPr lang="en-US"/>
        </a:p>
      </dgm:t>
    </dgm:pt>
    <dgm:pt modelId="{0903237D-32D1-4158-AED1-620C12A946D1}">
      <dgm:prSet/>
      <dgm:spPr/>
      <dgm:t>
        <a:bodyPr/>
        <a:lstStyle/>
        <a:p>
          <a:r>
            <a:rPr lang="en-US"/>
            <a:t>Employs SHAP values to deliver clear model explainability and interpret complex predictions</a:t>
          </a:r>
        </a:p>
      </dgm:t>
    </dgm:pt>
    <dgm:pt modelId="{9F48D2E1-224D-4F82-AF9B-6AC75C2560AE}" type="parTrans" cxnId="{7877FD6A-64DC-460E-B7C3-9A5A589B03B2}">
      <dgm:prSet/>
      <dgm:spPr/>
      <dgm:t>
        <a:bodyPr/>
        <a:lstStyle/>
        <a:p>
          <a:endParaRPr lang="en-US"/>
        </a:p>
      </dgm:t>
    </dgm:pt>
    <dgm:pt modelId="{72994AFE-AA6D-44E0-AEFA-FEA3729C1C9D}" type="sibTrans" cxnId="{7877FD6A-64DC-460E-B7C3-9A5A589B03B2}">
      <dgm:prSet/>
      <dgm:spPr/>
      <dgm:t>
        <a:bodyPr/>
        <a:lstStyle/>
        <a:p>
          <a:endParaRPr lang="en-US"/>
        </a:p>
      </dgm:t>
    </dgm:pt>
    <dgm:pt modelId="{19B91162-145C-477E-B913-438C9AD85B2E}">
      <dgm:prSet/>
      <dgm:spPr/>
      <dgm:t>
        <a:bodyPr/>
        <a:lstStyle/>
        <a:p>
          <a:r>
            <a:rPr lang="en-US" dirty="0"/>
            <a:t>Correlates performance metrics with feature drift detected by DataDriftSDK to uncover impact drivers</a:t>
          </a:r>
        </a:p>
      </dgm:t>
    </dgm:pt>
    <dgm:pt modelId="{EFCAAEC5-114E-41F5-B0A5-E5B913A96249}" type="parTrans" cxnId="{3DBD8E9E-CDD9-4C18-A5AB-6AD70E28974D}">
      <dgm:prSet/>
      <dgm:spPr/>
      <dgm:t>
        <a:bodyPr/>
        <a:lstStyle/>
        <a:p>
          <a:endParaRPr lang="en-US"/>
        </a:p>
      </dgm:t>
    </dgm:pt>
    <dgm:pt modelId="{0C1B3523-458A-4869-B39F-9FF127918DA1}" type="sibTrans" cxnId="{3DBD8E9E-CDD9-4C18-A5AB-6AD70E28974D}">
      <dgm:prSet/>
      <dgm:spPr/>
      <dgm:t>
        <a:bodyPr/>
        <a:lstStyle/>
        <a:p>
          <a:endParaRPr lang="en-US"/>
        </a:p>
      </dgm:t>
    </dgm:pt>
    <dgm:pt modelId="{CEB9F8A2-2B0A-4AF2-BF13-91B228526460}">
      <dgm:prSet/>
      <dgm:spPr/>
      <dgm:t>
        <a:bodyPr/>
        <a:lstStyle/>
        <a:p>
          <a:r>
            <a:rPr lang="en-US"/>
            <a:t>Exports results to CSV or Databricks Delta tables for unified tracking of model behavior and data shifts</a:t>
          </a:r>
        </a:p>
      </dgm:t>
    </dgm:pt>
    <dgm:pt modelId="{43D5D932-DE95-4578-A399-39947C6EAA07}" type="parTrans" cxnId="{A5C15A7B-9677-48C7-B9CF-405BB806705D}">
      <dgm:prSet/>
      <dgm:spPr/>
      <dgm:t>
        <a:bodyPr/>
        <a:lstStyle/>
        <a:p>
          <a:endParaRPr lang="en-US"/>
        </a:p>
      </dgm:t>
    </dgm:pt>
    <dgm:pt modelId="{AE2D1840-B453-4A28-A66C-F538DCAC040F}" type="sibTrans" cxnId="{A5C15A7B-9677-48C7-B9CF-405BB806705D}">
      <dgm:prSet/>
      <dgm:spPr/>
      <dgm:t>
        <a:bodyPr/>
        <a:lstStyle/>
        <a:p>
          <a:endParaRPr lang="en-US"/>
        </a:p>
      </dgm:t>
    </dgm:pt>
    <dgm:pt modelId="{0B00C077-4C56-4DD0-B32A-5EEF554D3394}">
      <dgm:prSet/>
      <dgm:spPr/>
      <dgm:t>
        <a:bodyPr/>
        <a:lstStyle/>
        <a:p>
          <a:r>
            <a:rPr lang="en-US"/>
            <a:t>Enables enhanced interpretability and governance by tracking model metrics alongside detected data drift</a:t>
          </a:r>
        </a:p>
      </dgm:t>
    </dgm:pt>
    <dgm:pt modelId="{E306D6B1-DD42-401B-AEE5-7739DAC74DB0}" type="parTrans" cxnId="{57E57540-6B2E-4570-9E10-64CB70FA08DE}">
      <dgm:prSet/>
      <dgm:spPr/>
      <dgm:t>
        <a:bodyPr/>
        <a:lstStyle/>
        <a:p>
          <a:endParaRPr lang="en-US"/>
        </a:p>
      </dgm:t>
    </dgm:pt>
    <dgm:pt modelId="{9B85456B-B32E-424A-800C-FE470DC5724F}" type="sibTrans" cxnId="{57E57540-6B2E-4570-9E10-64CB70FA08DE}">
      <dgm:prSet/>
      <dgm:spPr/>
      <dgm:t>
        <a:bodyPr/>
        <a:lstStyle/>
        <a:p>
          <a:endParaRPr lang="en-US"/>
        </a:p>
      </dgm:t>
    </dgm:pt>
    <dgm:pt modelId="{1A0D18DC-BBF0-4236-A9C9-D5BFE5B78EB2}" type="pres">
      <dgm:prSet presAssocID="{24E86407-B80E-412E-899E-767BB9842188}" presName="root" presStyleCnt="0">
        <dgm:presLayoutVars>
          <dgm:dir/>
          <dgm:resizeHandles val="exact"/>
        </dgm:presLayoutVars>
      </dgm:prSet>
      <dgm:spPr/>
    </dgm:pt>
    <dgm:pt modelId="{89237C16-5D80-4DE0-9346-A0CDB3F0A9A2}" type="pres">
      <dgm:prSet presAssocID="{24E86407-B80E-412E-899E-767BB9842188}" presName="container" presStyleCnt="0">
        <dgm:presLayoutVars>
          <dgm:dir/>
          <dgm:resizeHandles val="exact"/>
        </dgm:presLayoutVars>
      </dgm:prSet>
      <dgm:spPr/>
    </dgm:pt>
    <dgm:pt modelId="{6F41AD58-2CEE-4D9B-90B3-5C1C0EAFAC70}" type="pres">
      <dgm:prSet presAssocID="{F3C8FADE-7184-446A-93B2-B16A46BA6F9E}" presName="compNode" presStyleCnt="0"/>
      <dgm:spPr/>
    </dgm:pt>
    <dgm:pt modelId="{72CE1A4A-1722-4235-9C7C-67CBA1BA201F}" type="pres">
      <dgm:prSet presAssocID="{F3C8FADE-7184-446A-93B2-B16A46BA6F9E}" presName="iconBgRect" presStyleLbl="bgShp" presStyleIdx="0" presStyleCnt="6"/>
      <dgm:spPr/>
    </dgm:pt>
    <dgm:pt modelId="{A6B6B3B3-BB7A-4B9C-95B2-F88383F0EF20}" type="pres">
      <dgm:prSet presAssocID="{F3C8FADE-7184-446A-93B2-B16A46BA6F9E}" presName="iconRect" presStyleLbl="node1" presStyleIdx="0" presStyleCnt="6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tatistics"/>
        </a:ext>
      </dgm:extLst>
    </dgm:pt>
    <dgm:pt modelId="{6AF68357-F190-4CAE-BD29-311E1C2D74A6}" type="pres">
      <dgm:prSet presAssocID="{F3C8FADE-7184-446A-93B2-B16A46BA6F9E}" presName="spaceRect" presStyleCnt="0"/>
      <dgm:spPr/>
    </dgm:pt>
    <dgm:pt modelId="{0B9BE01C-97B7-4CC6-9B87-0B533A00174A}" type="pres">
      <dgm:prSet presAssocID="{F3C8FADE-7184-446A-93B2-B16A46BA6F9E}" presName="textRect" presStyleLbl="revTx" presStyleIdx="0" presStyleCnt="6">
        <dgm:presLayoutVars>
          <dgm:chMax val="1"/>
          <dgm:chPref val="1"/>
        </dgm:presLayoutVars>
      </dgm:prSet>
      <dgm:spPr/>
    </dgm:pt>
    <dgm:pt modelId="{0F7EE94B-11C4-43E8-8037-A10DD5B96F07}" type="pres">
      <dgm:prSet presAssocID="{FD6A539C-B1FA-4ABB-B568-AA1A6F7D9697}" presName="sibTrans" presStyleLbl="sibTrans2D1" presStyleIdx="0" presStyleCnt="0"/>
      <dgm:spPr/>
    </dgm:pt>
    <dgm:pt modelId="{23B998BD-5C22-49AA-995A-DCA90E380254}" type="pres">
      <dgm:prSet presAssocID="{BF0B74D6-EE02-42DD-911F-185EB790F1A0}" presName="compNode" presStyleCnt="0"/>
      <dgm:spPr/>
    </dgm:pt>
    <dgm:pt modelId="{EF080ABC-E57B-4969-944B-0CF565EC2A0D}" type="pres">
      <dgm:prSet presAssocID="{BF0B74D6-EE02-42DD-911F-185EB790F1A0}" presName="iconBgRect" presStyleLbl="bgShp" presStyleIdx="1" presStyleCnt="6"/>
      <dgm:spPr/>
    </dgm:pt>
    <dgm:pt modelId="{FBB7FC14-0C2F-4A06-B48B-71EE80320F92}" type="pres">
      <dgm:prSet presAssocID="{BF0B74D6-EE02-42DD-911F-185EB790F1A0}" presName="iconRect" presStyleLbl="node1" presStyleIdx="1" presStyleCnt="6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Gears"/>
        </a:ext>
      </dgm:extLst>
    </dgm:pt>
    <dgm:pt modelId="{E9A172D8-2DA3-4CB5-965C-8A23BC6558DD}" type="pres">
      <dgm:prSet presAssocID="{BF0B74D6-EE02-42DD-911F-185EB790F1A0}" presName="spaceRect" presStyleCnt="0"/>
      <dgm:spPr/>
    </dgm:pt>
    <dgm:pt modelId="{F5F3BA4F-01D0-4450-9D35-E66095AD0664}" type="pres">
      <dgm:prSet presAssocID="{BF0B74D6-EE02-42DD-911F-185EB790F1A0}" presName="textRect" presStyleLbl="revTx" presStyleIdx="1" presStyleCnt="6">
        <dgm:presLayoutVars>
          <dgm:chMax val="1"/>
          <dgm:chPref val="1"/>
        </dgm:presLayoutVars>
      </dgm:prSet>
      <dgm:spPr/>
    </dgm:pt>
    <dgm:pt modelId="{A394BDD8-51A9-41A6-A1AD-5C6EDAC1D89E}" type="pres">
      <dgm:prSet presAssocID="{2027FCF0-EEA8-48B5-A06D-920B84FC5ADB}" presName="sibTrans" presStyleLbl="sibTrans2D1" presStyleIdx="0" presStyleCnt="0"/>
      <dgm:spPr/>
    </dgm:pt>
    <dgm:pt modelId="{75671AEA-38C1-4D4D-AA8B-D65F781C869B}" type="pres">
      <dgm:prSet presAssocID="{0903237D-32D1-4158-AED1-620C12A946D1}" presName="compNode" presStyleCnt="0"/>
      <dgm:spPr/>
    </dgm:pt>
    <dgm:pt modelId="{DCF2935D-F089-4459-8C9A-C60308FF1637}" type="pres">
      <dgm:prSet presAssocID="{0903237D-32D1-4158-AED1-620C12A946D1}" presName="iconBgRect" presStyleLbl="bgShp" presStyleIdx="2" presStyleCnt="6"/>
      <dgm:spPr/>
    </dgm:pt>
    <dgm:pt modelId="{B8F399E3-33FA-490A-9FCF-7319C775D0F2}" type="pres">
      <dgm:prSet presAssocID="{0903237D-32D1-4158-AED1-620C12A946D1}" presName="iconRect" presStyleLbl="node1" presStyleIdx="2" presStyleCnt="6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Head with Gears"/>
        </a:ext>
      </dgm:extLst>
    </dgm:pt>
    <dgm:pt modelId="{5AA30D57-CDE2-4AC3-9095-CB750B61E6F0}" type="pres">
      <dgm:prSet presAssocID="{0903237D-32D1-4158-AED1-620C12A946D1}" presName="spaceRect" presStyleCnt="0"/>
      <dgm:spPr/>
    </dgm:pt>
    <dgm:pt modelId="{0962A8D0-6FB3-42D7-AEDC-779C0C4EBBFA}" type="pres">
      <dgm:prSet presAssocID="{0903237D-32D1-4158-AED1-620C12A946D1}" presName="textRect" presStyleLbl="revTx" presStyleIdx="2" presStyleCnt="6">
        <dgm:presLayoutVars>
          <dgm:chMax val="1"/>
          <dgm:chPref val="1"/>
        </dgm:presLayoutVars>
      </dgm:prSet>
      <dgm:spPr/>
    </dgm:pt>
    <dgm:pt modelId="{81C6CA7C-8A2A-41CC-876B-F56D5B62577A}" type="pres">
      <dgm:prSet presAssocID="{72994AFE-AA6D-44E0-AEFA-FEA3729C1C9D}" presName="sibTrans" presStyleLbl="sibTrans2D1" presStyleIdx="0" presStyleCnt="0"/>
      <dgm:spPr/>
    </dgm:pt>
    <dgm:pt modelId="{32420680-5BC5-4E94-A8F9-C6FFAE8D8473}" type="pres">
      <dgm:prSet presAssocID="{19B91162-145C-477E-B913-438C9AD85B2E}" presName="compNode" presStyleCnt="0"/>
      <dgm:spPr/>
    </dgm:pt>
    <dgm:pt modelId="{9E69F79B-0F03-421E-8931-1206E11F9274}" type="pres">
      <dgm:prSet presAssocID="{19B91162-145C-477E-B913-438C9AD85B2E}" presName="iconBgRect" presStyleLbl="bgShp" presStyleIdx="3" presStyleCnt="6"/>
      <dgm:spPr/>
    </dgm:pt>
    <dgm:pt modelId="{51E5FA6D-AD9C-4752-8AA4-3B8BF3283A23}" type="pres">
      <dgm:prSet presAssocID="{19B91162-145C-477E-B913-438C9AD85B2E}" presName="iconRect" presStyleLbl="node1" presStyleIdx="3" presStyleCnt="6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ar chart"/>
        </a:ext>
      </dgm:extLst>
    </dgm:pt>
    <dgm:pt modelId="{241E8CD6-AEC3-453E-860E-544FF7B2F789}" type="pres">
      <dgm:prSet presAssocID="{19B91162-145C-477E-B913-438C9AD85B2E}" presName="spaceRect" presStyleCnt="0"/>
      <dgm:spPr/>
    </dgm:pt>
    <dgm:pt modelId="{74CB4363-49B6-43B7-A3AF-C04015DEB216}" type="pres">
      <dgm:prSet presAssocID="{19B91162-145C-477E-B913-438C9AD85B2E}" presName="textRect" presStyleLbl="revTx" presStyleIdx="3" presStyleCnt="6">
        <dgm:presLayoutVars>
          <dgm:chMax val="1"/>
          <dgm:chPref val="1"/>
        </dgm:presLayoutVars>
      </dgm:prSet>
      <dgm:spPr/>
    </dgm:pt>
    <dgm:pt modelId="{434C56EF-1858-4896-98DC-992A45912259}" type="pres">
      <dgm:prSet presAssocID="{0C1B3523-458A-4869-B39F-9FF127918DA1}" presName="sibTrans" presStyleLbl="sibTrans2D1" presStyleIdx="0" presStyleCnt="0"/>
      <dgm:spPr/>
    </dgm:pt>
    <dgm:pt modelId="{5A4DDB78-1158-49E8-955A-507F7D6AF4A8}" type="pres">
      <dgm:prSet presAssocID="{CEB9F8A2-2B0A-4AF2-BF13-91B228526460}" presName="compNode" presStyleCnt="0"/>
      <dgm:spPr/>
    </dgm:pt>
    <dgm:pt modelId="{B8B9C4FD-1826-4BD7-8C48-87A0FBCC6054}" type="pres">
      <dgm:prSet presAssocID="{CEB9F8A2-2B0A-4AF2-BF13-91B228526460}" presName="iconBgRect" presStyleLbl="bgShp" presStyleIdx="4" presStyleCnt="6"/>
      <dgm:spPr/>
    </dgm:pt>
    <dgm:pt modelId="{790FB5EA-B9EC-449A-A69E-03554EA4421A}" type="pres">
      <dgm:prSet presAssocID="{CEB9F8A2-2B0A-4AF2-BF13-91B228526460}" presName="iconRect" presStyleLbl="node1" presStyleIdx="4" presStyleCnt="6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atabase"/>
        </a:ext>
      </dgm:extLst>
    </dgm:pt>
    <dgm:pt modelId="{064F4B33-D98B-4163-9730-0E5DF6AE0639}" type="pres">
      <dgm:prSet presAssocID="{CEB9F8A2-2B0A-4AF2-BF13-91B228526460}" presName="spaceRect" presStyleCnt="0"/>
      <dgm:spPr/>
    </dgm:pt>
    <dgm:pt modelId="{7CC1890E-6048-483A-94C9-E6425FA3FC7C}" type="pres">
      <dgm:prSet presAssocID="{CEB9F8A2-2B0A-4AF2-BF13-91B228526460}" presName="textRect" presStyleLbl="revTx" presStyleIdx="4" presStyleCnt="6">
        <dgm:presLayoutVars>
          <dgm:chMax val="1"/>
          <dgm:chPref val="1"/>
        </dgm:presLayoutVars>
      </dgm:prSet>
      <dgm:spPr/>
    </dgm:pt>
    <dgm:pt modelId="{9A71EBC6-2CF5-4E1D-9224-22F39D82A9EB}" type="pres">
      <dgm:prSet presAssocID="{AE2D1840-B453-4A28-A66C-F538DCAC040F}" presName="sibTrans" presStyleLbl="sibTrans2D1" presStyleIdx="0" presStyleCnt="0"/>
      <dgm:spPr/>
    </dgm:pt>
    <dgm:pt modelId="{A6BE5585-2DF0-488D-BA2C-8C6F372C25AF}" type="pres">
      <dgm:prSet presAssocID="{0B00C077-4C56-4DD0-B32A-5EEF554D3394}" presName="compNode" presStyleCnt="0"/>
      <dgm:spPr/>
    </dgm:pt>
    <dgm:pt modelId="{A98C13BD-72C4-4FC7-B7DF-CD3228E9D25F}" type="pres">
      <dgm:prSet presAssocID="{0B00C077-4C56-4DD0-B32A-5EEF554D3394}" presName="iconBgRect" presStyleLbl="bgShp" presStyleIdx="5" presStyleCnt="6"/>
      <dgm:spPr/>
    </dgm:pt>
    <dgm:pt modelId="{0E37B1F9-1723-4605-97A3-1EFABA6AB820}" type="pres">
      <dgm:prSet presAssocID="{0B00C077-4C56-4DD0-B32A-5EEF554D3394}" presName="iconRect" presStyleLbl="node1" presStyleIdx="5" presStyleCnt="6"/>
      <dgm:spPr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Gauge"/>
        </a:ext>
      </dgm:extLst>
    </dgm:pt>
    <dgm:pt modelId="{2FE179C2-4636-4B18-9CB3-7CACD66E0A98}" type="pres">
      <dgm:prSet presAssocID="{0B00C077-4C56-4DD0-B32A-5EEF554D3394}" presName="spaceRect" presStyleCnt="0"/>
      <dgm:spPr/>
    </dgm:pt>
    <dgm:pt modelId="{6F4EB06C-B612-470B-9FAE-B74D0279D656}" type="pres">
      <dgm:prSet presAssocID="{0B00C077-4C56-4DD0-B32A-5EEF554D3394}" presName="textRect" presStyleLbl="revTx" presStyleIdx="5" presStyleCnt="6">
        <dgm:presLayoutVars>
          <dgm:chMax val="1"/>
          <dgm:chPref val="1"/>
        </dgm:presLayoutVars>
      </dgm:prSet>
      <dgm:spPr/>
    </dgm:pt>
  </dgm:ptLst>
  <dgm:cxnLst>
    <dgm:cxn modelId="{3AF5E307-A45D-47DB-A930-847667D92DC6}" type="presOf" srcId="{F3C8FADE-7184-446A-93B2-B16A46BA6F9E}" destId="{0B9BE01C-97B7-4CC6-9B87-0B533A00174A}" srcOrd="0" destOrd="0" presId="urn:microsoft.com/office/officeart/2018/2/layout/IconCircleList"/>
    <dgm:cxn modelId="{C95F610C-31BE-439C-982D-3E3D1ED721B9}" type="presOf" srcId="{0C1B3523-458A-4869-B39F-9FF127918DA1}" destId="{434C56EF-1858-4896-98DC-992A45912259}" srcOrd="0" destOrd="0" presId="urn:microsoft.com/office/officeart/2018/2/layout/IconCircleList"/>
    <dgm:cxn modelId="{57E57540-6B2E-4570-9E10-64CB70FA08DE}" srcId="{24E86407-B80E-412E-899E-767BB9842188}" destId="{0B00C077-4C56-4DD0-B32A-5EEF554D3394}" srcOrd="5" destOrd="0" parTransId="{E306D6B1-DD42-401B-AEE5-7739DAC74DB0}" sibTransId="{9B85456B-B32E-424A-800C-FE470DC5724F}"/>
    <dgm:cxn modelId="{DF81F15B-2A5A-4ADA-94A0-301A801F0285}" type="presOf" srcId="{CEB9F8A2-2B0A-4AF2-BF13-91B228526460}" destId="{7CC1890E-6048-483A-94C9-E6425FA3FC7C}" srcOrd="0" destOrd="0" presId="urn:microsoft.com/office/officeart/2018/2/layout/IconCircleList"/>
    <dgm:cxn modelId="{7877FD6A-64DC-460E-B7C3-9A5A589B03B2}" srcId="{24E86407-B80E-412E-899E-767BB9842188}" destId="{0903237D-32D1-4158-AED1-620C12A946D1}" srcOrd="2" destOrd="0" parTransId="{9F48D2E1-224D-4F82-AF9B-6AC75C2560AE}" sibTransId="{72994AFE-AA6D-44E0-AEFA-FEA3729C1C9D}"/>
    <dgm:cxn modelId="{02410B55-F0A0-4BE2-B4F6-4DACD032B42A}" type="presOf" srcId="{0B00C077-4C56-4DD0-B32A-5EEF554D3394}" destId="{6F4EB06C-B612-470B-9FAE-B74D0279D656}" srcOrd="0" destOrd="0" presId="urn:microsoft.com/office/officeart/2018/2/layout/IconCircleList"/>
    <dgm:cxn modelId="{5A44CC57-194F-4489-A4ED-74E9583A6773}" type="presOf" srcId="{0903237D-32D1-4158-AED1-620C12A946D1}" destId="{0962A8D0-6FB3-42D7-AEDC-779C0C4EBBFA}" srcOrd="0" destOrd="0" presId="urn:microsoft.com/office/officeart/2018/2/layout/IconCircleList"/>
    <dgm:cxn modelId="{A5C15A7B-9677-48C7-B9CF-405BB806705D}" srcId="{24E86407-B80E-412E-899E-767BB9842188}" destId="{CEB9F8A2-2B0A-4AF2-BF13-91B228526460}" srcOrd="4" destOrd="0" parTransId="{43D5D932-DE95-4578-A399-39947C6EAA07}" sibTransId="{AE2D1840-B453-4A28-A66C-F538DCAC040F}"/>
    <dgm:cxn modelId="{17C0508F-0341-4E6E-A8AA-CD0DF1D465E8}" type="presOf" srcId="{AE2D1840-B453-4A28-A66C-F538DCAC040F}" destId="{9A71EBC6-2CF5-4E1D-9224-22F39D82A9EB}" srcOrd="0" destOrd="0" presId="urn:microsoft.com/office/officeart/2018/2/layout/IconCircleList"/>
    <dgm:cxn modelId="{5FD54A91-C7BC-4D0B-BF33-476CAE52F9FA}" type="presOf" srcId="{72994AFE-AA6D-44E0-AEFA-FEA3729C1C9D}" destId="{81C6CA7C-8A2A-41CC-876B-F56D5B62577A}" srcOrd="0" destOrd="0" presId="urn:microsoft.com/office/officeart/2018/2/layout/IconCircleList"/>
    <dgm:cxn modelId="{06C83B95-7792-4935-AEE6-472FBA61C3F0}" srcId="{24E86407-B80E-412E-899E-767BB9842188}" destId="{BF0B74D6-EE02-42DD-911F-185EB790F1A0}" srcOrd="1" destOrd="0" parTransId="{26D8AFE0-5ACC-43F8-9902-A6F8D586FEA3}" sibTransId="{2027FCF0-EEA8-48B5-A06D-920B84FC5ADB}"/>
    <dgm:cxn modelId="{3DBD8E9E-CDD9-4C18-A5AB-6AD70E28974D}" srcId="{24E86407-B80E-412E-899E-767BB9842188}" destId="{19B91162-145C-477E-B913-438C9AD85B2E}" srcOrd="3" destOrd="0" parTransId="{EFCAAEC5-114E-41F5-B0A5-E5B913A96249}" sibTransId="{0C1B3523-458A-4869-B39F-9FF127918DA1}"/>
    <dgm:cxn modelId="{23567EAB-573D-4185-9739-65CB07842D49}" type="presOf" srcId="{BF0B74D6-EE02-42DD-911F-185EB790F1A0}" destId="{F5F3BA4F-01D0-4450-9D35-E66095AD0664}" srcOrd="0" destOrd="0" presId="urn:microsoft.com/office/officeart/2018/2/layout/IconCircleList"/>
    <dgm:cxn modelId="{04A594B8-D1D5-4B7F-A794-30A1BEE41A2F}" srcId="{24E86407-B80E-412E-899E-767BB9842188}" destId="{F3C8FADE-7184-446A-93B2-B16A46BA6F9E}" srcOrd="0" destOrd="0" parTransId="{C6F1180F-2B86-4FE1-91E2-4E81697691BD}" sibTransId="{FD6A539C-B1FA-4ABB-B568-AA1A6F7D9697}"/>
    <dgm:cxn modelId="{F161C0BF-D922-4E47-82B8-F15DED0E5F0C}" type="presOf" srcId="{19B91162-145C-477E-B913-438C9AD85B2E}" destId="{74CB4363-49B6-43B7-A3AF-C04015DEB216}" srcOrd="0" destOrd="0" presId="urn:microsoft.com/office/officeart/2018/2/layout/IconCircleList"/>
    <dgm:cxn modelId="{E2AFC3D5-A660-43EF-B306-05176626F345}" type="presOf" srcId="{24E86407-B80E-412E-899E-767BB9842188}" destId="{1A0D18DC-BBF0-4236-A9C9-D5BFE5B78EB2}" srcOrd="0" destOrd="0" presId="urn:microsoft.com/office/officeart/2018/2/layout/IconCircleList"/>
    <dgm:cxn modelId="{065475D9-D5DA-4D57-97D2-D2E5E6994495}" type="presOf" srcId="{2027FCF0-EEA8-48B5-A06D-920B84FC5ADB}" destId="{A394BDD8-51A9-41A6-A1AD-5C6EDAC1D89E}" srcOrd="0" destOrd="0" presId="urn:microsoft.com/office/officeart/2018/2/layout/IconCircleList"/>
    <dgm:cxn modelId="{334583E3-932C-419F-8973-59987E5B9810}" type="presOf" srcId="{FD6A539C-B1FA-4ABB-B568-AA1A6F7D9697}" destId="{0F7EE94B-11C4-43E8-8037-A10DD5B96F07}" srcOrd="0" destOrd="0" presId="urn:microsoft.com/office/officeart/2018/2/layout/IconCircleList"/>
    <dgm:cxn modelId="{F0EE6A1F-0B37-4142-9257-807934A5B40F}" type="presParOf" srcId="{1A0D18DC-BBF0-4236-A9C9-D5BFE5B78EB2}" destId="{89237C16-5D80-4DE0-9346-A0CDB3F0A9A2}" srcOrd="0" destOrd="0" presId="urn:microsoft.com/office/officeart/2018/2/layout/IconCircleList"/>
    <dgm:cxn modelId="{7F8699AD-4B86-4C3D-B5EE-CC2FD35A472F}" type="presParOf" srcId="{89237C16-5D80-4DE0-9346-A0CDB3F0A9A2}" destId="{6F41AD58-2CEE-4D9B-90B3-5C1C0EAFAC70}" srcOrd="0" destOrd="0" presId="urn:microsoft.com/office/officeart/2018/2/layout/IconCircleList"/>
    <dgm:cxn modelId="{D62AA9F4-39A5-417B-AFB3-B06C786491C4}" type="presParOf" srcId="{6F41AD58-2CEE-4D9B-90B3-5C1C0EAFAC70}" destId="{72CE1A4A-1722-4235-9C7C-67CBA1BA201F}" srcOrd="0" destOrd="0" presId="urn:microsoft.com/office/officeart/2018/2/layout/IconCircleList"/>
    <dgm:cxn modelId="{1C5CC733-91A8-4133-9688-685A356A96FA}" type="presParOf" srcId="{6F41AD58-2CEE-4D9B-90B3-5C1C0EAFAC70}" destId="{A6B6B3B3-BB7A-4B9C-95B2-F88383F0EF20}" srcOrd="1" destOrd="0" presId="urn:microsoft.com/office/officeart/2018/2/layout/IconCircleList"/>
    <dgm:cxn modelId="{79929E3B-F5C1-47E8-A921-7B1FC5229682}" type="presParOf" srcId="{6F41AD58-2CEE-4D9B-90B3-5C1C0EAFAC70}" destId="{6AF68357-F190-4CAE-BD29-311E1C2D74A6}" srcOrd="2" destOrd="0" presId="urn:microsoft.com/office/officeart/2018/2/layout/IconCircleList"/>
    <dgm:cxn modelId="{7495C309-B347-4608-A745-621DE8675531}" type="presParOf" srcId="{6F41AD58-2CEE-4D9B-90B3-5C1C0EAFAC70}" destId="{0B9BE01C-97B7-4CC6-9B87-0B533A00174A}" srcOrd="3" destOrd="0" presId="urn:microsoft.com/office/officeart/2018/2/layout/IconCircleList"/>
    <dgm:cxn modelId="{1C844192-3AEA-40E0-9A4B-73B4AD126293}" type="presParOf" srcId="{89237C16-5D80-4DE0-9346-A0CDB3F0A9A2}" destId="{0F7EE94B-11C4-43E8-8037-A10DD5B96F07}" srcOrd="1" destOrd="0" presId="urn:microsoft.com/office/officeart/2018/2/layout/IconCircleList"/>
    <dgm:cxn modelId="{6DF8F11C-8BD9-4DE1-9337-309653F1D9D2}" type="presParOf" srcId="{89237C16-5D80-4DE0-9346-A0CDB3F0A9A2}" destId="{23B998BD-5C22-49AA-995A-DCA90E380254}" srcOrd="2" destOrd="0" presId="urn:microsoft.com/office/officeart/2018/2/layout/IconCircleList"/>
    <dgm:cxn modelId="{1AD31CA7-D547-4CBE-8D37-57B3B553C8A8}" type="presParOf" srcId="{23B998BD-5C22-49AA-995A-DCA90E380254}" destId="{EF080ABC-E57B-4969-944B-0CF565EC2A0D}" srcOrd="0" destOrd="0" presId="urn:microsoft.com/office/officeart/2018/2/layout/IconCircleList"/>
    <dgm:cxn modelId="{60E49F92-0745-462E-BE53-0A3ECC162495}" type="presParOf" srcId="{23B998BD-5C22-49AA-995A-DCA90E380254}" destId="{FBB7FC14-0C2F-4A06-B48B-71EE80320F92}" srcOrd="1" destOrd="0" presId="urn:microsoft.com/office/officeart/2018/2/layout/IconCircleList"/>
    <dgm:cxn modelId="{8716D80D-B0AD-471D-9A24-687E22E0C534}" type="presParOf" srcId="{23B998BD-5C22-49AA-995A-DCA90E380254}" destId="{E9A172D8-2DA3-4CB5-965C-8A23BC6558DD}" srcOrd="2" destOrd="0" presId="urn:microsoft.com/office/officeart/2018/2/layout/IconCircleList"/>
    <dgm:cxn modelId="{E111E7DD-B225-4773-B397-63FE048088B5}" type="presParOf" srcId="{23B998BD-5C22-49AA-995A-DCA90E380254}" destId="{F5F3BA4F-01D0-4450-9D35-E66095AD0664}" srcOrd="3" destOrd="0" presId="urn:microsoft.com/office/officeart/2018/2/layout/IconCircleList"/>
    <dgm:cxn modelId="{8FAF5CED-C3E7-4C7A-9A93-FFA4598B5794}" type="presParOf" srcId="{89237C16-5D80-4DE0-9346-A0CDB3F0A9A2}" destId="{A394BDD8-51A9-41A6-A1AD-5C6EDAC1D89E}" srcOrd="3" destOrd="0" presId="urn:microsoft.com/office/officeart/2018/2/layout/IconCircleList"/>
    <dgm:cxn modelId="{667174A9-38AC-49A6-A2E4-839E11B0D692}" type="presParOf" srcId="{89237C16-5D80-4DE0-9346-A0CDB3F0A9A2}" destId="{75671AEA-38C1-4D4D-AA8B-D65F781C869B}" srcOrd="4" destOrd="0" presId="urn:microsoft.com/office/officeart/2018/2/layout/IconCircleList"/>
    <dgm:cxn modelId="{6FCD6AD0-81A1-4C40-87EE-C262415D7BB9}" type="presParOf" srcId="{75671AEA-38C1-4D4D-AA8B-D65F781C869B}" destId="{DCF2935D-F089-4459-8C9A-C60308FF1637}" srcOrd="0" destOrd="0" presId="urn:microsoft.com/office/officeart/2018/2/layout/IconCircleList"/>
    <dgm:cxn modelId="{78A4A9C3-15B6-45A9-AF58-C107D3AF402B}" type="presParOf" srcId="{75671AEA-38C1-4D4D-AA8B-D65F781C869B}" destId="{B8F399E3-33FA-490A-9FCF-7319C775D0F2}" srcOrd="1" destOrd="0" presId="urn:microsoft.com/office/officeart/2018/2/layout/IconCircleList"/>
    <dgm:cxn modelId="{D4F9BD0D-BB2D-4369-9E45-46187CCDF7E4}" type="presParOf" srcId="{75671AEA-38C1-4D4D-AA8B-D65F781C869B}" destId="{5AA30D57-CDE2-4AC3-9095-CB750B61E6F0}" srcOrd="2" destOrd="0" presId="urn:microsoft.com/office/officeart/2018/2/layout/IconCircleList"/>
    <dgm:cxn modelId="{7F38922C-5E2F-456F-832C-75C8134240C1}" type="presParOf" srcId="{75671AEA-38C1-4D4D-AA8B-D65F781C869B}" destId="{0962A8D0-6FB3-42D7-AEDC-779C0C4EBBFA}" srcOrd="3" destOrd="0" presId="urn:microsoft.com/office/officeart/2018/2/layout/IconCircleList"/>
    <dgm:cxn modelId="{A805EA7F-2E58-42FE-9454-B677F24735E3}" type="presParOf" srcId="{89237C16-5D80-4DE0-9346-A0CDB3F0A9A2}" destId="{81C6CA7C-8A2A-41CC-876B-F56D5B62577A}" srcOrd="5" destOrd="0" presId="urn:microsoft.com/office/officeart/2018/2/layout/IconCircleList"/>
    <dgm:cxn modelId="{CA110F4B-A412-45B0-AD60-C5AA0206146B}" type="presParOf" srcId="{89237C16-5D80-4DE0-9346-A0CDB3F0A9A2}" destId="{32420680-5BC5-4E94-A8F9-C6FFAE8D8473}" srcOrd="6" destOrd="0" presId="urn:microsoft.com/office/officeart/2018/2/layout/IconCircleList"/>
    <dgm:cxn modelId="{7D049BF8-F2A6-48FA-80FB-85398A669553}" type="presParOf" srcId="{32420680-5BC5-4E94-A8F9-C6FFAE8D8473}" destId="{9E69F79B-0F03-421E-8931-1206E11F9274}" srcOrd="0" destOrd="0" presId="urn:microsoft.com/office/officeart/2018/2/layout/IconCircleList"/>
    <dgm:cxn modelId="{C0642729-6873-4838-BF41-D65C9B5B19F5}" type="presParOf" srcId="{32420680-5BC5-4E94-A8F9-C6FFAE8D8473}" destId="{51E5FA6D-AD9C-4752-8AA4-3B8BF3283A23}" srcOrd="1" destOrd="0" presId="urn:microsoft.com/office/officeart/2018/2/layout/IconCircleList"/>
    <dgm:cxn modelId="{AA538C24-05ED-4F4B-9A60-2CFDAEA20807}" type="presParOf" srcId="{32420680-5BC5-4E94-A8F9-C6FFAE8D8473}" destId="{241E8CD6-AEC3-453E-860E-544FF7B2F789}" srcOrd="2" destOrd="0" presId="urn:microsoft.com/office/officeart/2018/2/layout/IconCircleList"/>
    <dgm:cxn modelId="{C77E6FA0-37E9-4990-A73A-CE21748380CF}" type="presParOf" srcId="{32420680-5BC5-4E94-A8F9-C6FFAE8D8473}" destId="{74CB4363-49B6-43B7-A3AF-C04015DEB216}" srcOrd="3" destOrd="0" presId="urn:microsoft.com/office/officeart/2018/2/layout/IconCircleList"/>
    <dgm:cxn modelId="{95C1AA34-BA19-4A93-BB3F-259C644214C3}" type="presParOf" srcId="{89237C16-5D80-4DE0-9346-A0CDB3F0A9A2}" destId="{434C56EF-1858-4896-98DC-992A45912259}" srcOrd="7" destOrd="0" presId="urn:microsoft.com/office/officeart/2018/2/layout/IconCircleList"/>
    <dgm:cxn modelId="{517317AA-D3D0-401E-9720-F4EF4E46DACA}" type="presParOf" srcId="{89237C16-5D80-4DE0-9346-A0CDB3F0A9A2}" destId="{5A4DDB78-1158-49E8-955A-507F7D6AF4A8}" srcOrd="8" destOrd="0" presId="urn:microsoft.com/office/officeart/2018/2/layout/IconCircleList"/>
    <dgm:cxn modelId="{2F6EBFFB-2377-4725-8A7F-603EEB35A52E}" type="presParOf" srcId="{5A4DDB78-1158-49E8-955A-507F7D6AF4A8}" destId="{B8B9C4FD-1826-4BD7-8C48-87A0FBCC6054}" srcOrd="0" destOrd="0" presId="urn:microsoft.com/office/officeart/2018/2/layout/IconCircleList"/>
    <dgm:cxn modelId="{74BFB29C-6FA6-43A0-A90C-293C456778E0}" type="presParOf" srcId="{5A4DDB78-1158-49E8-955A-507F7D6AF4A8}" destId="{790FB5EA-B9EC-449A-A69E-03554EA4421A}" srcOrd="1" destOrd="0" presId="urn:microsoft.com/office/officeart/2018/2/layout/IconCircleList"/>
    <dgm:cxn modelId="{56502707-3099-4E5E-B683-43A141BDD4BF}" type="presParOf" srcId="{5A4DDB78-1158-49E8-955A-507F7D6AF4A8}" destId="{064F4B33-D98B-4163-9730-0E5DF6AE0639}" srcOrd="2" destOrd="0" presId="urn:microsoft.com/office/officeart/2018/2/layout/IconCircleList"/>
    <dgm:cxn modelId="{AA23FBCA-B15B-45A6-913F-81BE42F9733D}" type="presParOf" srcId="{5A4DDB78-1158-49E8-955A-507F7D6AF4A8}" destId="{7CC1890E-6048-483A-94C9-E6425FA3FC7C}" srcOrd="3" destOrd="0" presId="urn:microsoft.com/office/officeart/2018/2/layout/IconCircleList"/>
    <dgm:cxn modelId="{BA47D812-FDE0-4501-BAAC-62DE05257AA1}" type="presParOf" srcId="{89237C16-5D80-4DE0-9346-A0CDB3F0A9A2}" destId="{9A71EBC6-2CF5-4E1D-9224-22F39D82A9EB}" srcOrd="9" destOrd="0" presId="urn:microsoft.com/office/officeart/2018/2/layout/IconCircleList"/>
    <dgm:cxn modelId="{BEA00156-A00F-499F-8CC1-3FDA72947A84}" type="presParOf" srcId="{89237C16-5D80-4DE0-9346-A0CDB3F0A9A2}" destId="{A6BE5585-2DF0-488D-BA2C-8C6F372C25AF}" srcOrd="10" destOrd="0" presId="urn:microsoft.com/office/officeart/2018/2/layout/IconCircleList"/>
    <dgm:cxn modelId="{8F31650C-B5AD-4111-B995-411D04149523}" type="presParOf" srcId="{A6BE5585-2DF0-488D-BA2C-8C6F372C25AF}" destId="{A98C13BD-72C4-4FC7-B7DF-CD3228E9D25F}" srcOrd="0" destOrd="0" presId="urn:microsoft.com/office/officeart/2018/2/layout/IconCircleList"/>
    <dgm:cxn modelId="{6EA06A1A-521C-4D23-9B7C-500823FDFD3D}" type="presParOf" srcId="{A6BE5585-2DF0-488D-BA2C-8C6F372C25AF}" destId="{0E37B1F9-1723-4605-97A3-1EFABA6AB820}" srcOrd="1" destOrd="0" presId="urn:microsoft.com/office/officeart/2018/2/layout/IconCircleList"/>
    <dgm:cxn modelId="{D1249FA7-07F5-45E0-AA88-5A58933004B2}" type="presParOf" srcId="{A6BE5585-2DF0-488D-BA2C-8C6F372C25AF}" destId="{2FE179C2-4636-4B18-9CB3-7CACD66E0A98}" srcOrd="2" destOrd="0" presId="urn:microsoft.com/office/officeart/2018/2/layout/IconCircleList"/>
    <dgm:cxn modelId="{1BB57731-D755-488C-8ACC-DA212E7CF8CC}" type="presParOf" srcId="{A6BE5585-2DF0-488D-BA2C-8C6F372C25AF}" destId="{6F4EB06C-B612-470B-9FAE-B74D0279D656}" srcOrd="3" destOrd="0" presId="urn:microsoft.com/office/officeart/2018/2/layout/IconCircle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782DE83-E419-4A6F-9177-752BB5B7E1E6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14293FDE-6243-43CB-BF56-17EEB3A2E8F1}">
      <dgm:prSet/>
      <dgm:spPr/>
      <dgm:t>
        <a:bodyPr/>
        <a:lstStyle/>
        <a:p>
          <a:r>
            <a:rPr lang="en-US"/>
            <a:t>Provides a robust and scalable foundation for high-quality ML operations</a:t>
          </a:r>
        </a:p>
      </dgm:t>
    </dgm:pt>
    <dgm:pt modelId="{5FA6F3D3-A6DE-44AB-9133-FF4155784577}" type="parTrans" cxnId="{9EB2150F-7F0B-4068-8E49-AF079C675898}">
      <dgm:prSet/>
      <dgm:spPr/>
      <dgm:t>
        <a:bodyPr/>
        <a:lstStyle/>
        <a:p>
          <a:endParaRPr lang="en-US"/>
        </a:p>
      </dgm:t>
    </dgm:pt>
    <dgm:pt modelId="{95C9DFFC-E1B8-4535-BE36-CC4A6C17AA73}" type="sibTrans" cxnId="{9EB2150F-7F0B-4068-8E49-AF079C675898}">
      <dgm:prSet/>
      <dgm:spPr/>
      <dgm:t>
        <a:bodyPr/>
        <a:lstStyle/>
        <a:p>
          <a:endParaRPr lang="en-US"/>
        </a:p>
      </dgm:t>
    </dgm:pt>
    <dgm:pt modelId="{B4794E46-AE08-4FB4-9D48-B5432705EABC}">
      <dgm:prSet/>
      <dgm:spPr/>
      <dgm:t>
        <a:bodyPr/>
        <a:lstStyle/>
        <a:p>
          <a:r>
            <a:rPr lang="en-US"/>
            <a:t>Integrates data drift detection, data quality profiling, and model performance tracking</a:t>
          </a:r>
        </a:p>
      </dgm:t>
    </dgm:pt>
    <dgm:pt modelId="{55F12A05-83A2-43C2-BAC9-1653F2374737}" type="parTrans" cxnId="{CA419833-622B-4984-9143-74FB63FC0242}">
      <dgm:prSet/>
      <dgm:spPr/>
      <dgm:t>
        <a:bodyPr/>
        <a:lstStyle/>
        <a:p>
          <a:endParaRPr lang="en-US"/>
        </a:p>
      </dgm:t>
    </dgm:pt>
    <dgm:pt modelId="{F2A44E82-9945-49A8-A8B4-ECC6DF09993B}" type="sibTrans" cxnId="{CA419833-622B-4984-9143-74FB63FC0242}">
      <dgm:prSet/>
      <dgm:spPr/>
      <dgm:t>
        <a:bodyPr/>
        <a:lstStyle/>
        <a:p>
          <a:endParaRPr lang="en-US"/>
        </a:p>
      </dgm:t>
    </dgm:pt>
    <dgm:pt modelId="{EF34EAC0-F5A2-4484-BA9A-3F7C533364EF}">
      <dgm:prSet/>
      <dgm:spPr/>
      <dgm:t>
        <a:bodyPr/>
        <a:lstStyle/>
        <a:p>
          <a:r>
            <a:rPr lang="en-US"/>
            <a:t>Enables teams to proactively manage model reliability and regulatory compliance</a:t>
          </a:r>
        </a:p>
      </dgm:t>
    </dgm:pt>
    <dgm:pt modelId="{0107AF5C-39B7-41B6-BCFE-AD2A9D12D479}" type="parTrans" cxnId="{F7302331-7497-47E5-BDBC-3864CF628F27}">
      <dgm:prSet/>
      <dgm:spPr/>
      <dgm:t>
        <a:bodyPr/>
        <a:lstStyle/>
        <a:p>
          <a:endParaRPr lang="en-US"/>
        </a:p>
      </dgm:t>
    </dgm:pt>
    <dgm:pt modelId="{1CAE67D7-FD59-418C-BD1F-9CFF3EFD0952}" type="sibTrans" cxnId="{F7302331-7497-47E5-BDBC-3864CF628F27}">
      <dgm:prSet/>
      <dgm:spPr/>
      <dgm:t>
        <a:bodyPr/>
        <a:lstStyle/>
        <a:p>
          <a:endParaRPr lang="en-US"/>
        </a:p>
      </dgm:t>
    </dgm:pt>
    <dgm:pt modelId="{8A85D420-08B4-439C-A519-86458B4DE39B}">
      <dgm:prSet/>
      <dgm:spPr/>
      <dgm:t>
        <a:bodyPr/>
        <a:lstStyle/>
        <a:p>
          <a:r>
            <a:rPr lang="en-US"/>
            <a:t>Offers a platform-agnostic, modular SDK design compatible with diverse environments</a:t>
          </a:r>
        </a:p>
      </dgm:t>
    </dgm:pt>
    <dgm:pt modelId="{D9265F5F-E1E4-4BF1-9E46-5FBE39501DFD}" type="parTrans" cxnId="{DBC2E10D-10DB-4EC9-8F14-5911E6615B28}">
      <dgm:prSet/>
      <dgm:spPr/>
      <dgm:t>
        <a:bodyPr/>
        <a:lstStyle/>
        <a:p>
          <a:endParaRPr lang="en-US"/>
        </a:p>
      </dgm:t>
    </dgm:pt>
    <dgm:pt modelId="{DCBF79C3-B2E4-47ED-B02E-10790DD66713}" type="sibTrans" cxnId="{DBC2E10D-10DB-4EC9-8F14-5911E6615B28}">
      <dgm:prSet/>
      <dgm:spPr/>
      <dgm:t>
        <a:bodyPr/>
        <a:lstStyle/>
        <a:p>
          <a:endParaRPr lang="en-US"/>
        </a:p>
      </dgm:t>
    </dgm:pt>
    <dgm:pt modelId="{0BEC73A8-F758-4206-9106-AB5AC370AA71}">
      <dgm:prSet/>
      <dgm:spPr/>
      <dgm:t>
        <a:bodyPr/>
        <a:lstStyle/>
        <a:p>
          <a:r>
            <a:rPr lang="en-US"/>
            <a:t>Supports delivery of trustworthy, efficient ML systems aligning with evolving business needs</a:t>
          </a:r>
        </a:p>
      </dgm:t>
    </dgm:pt>
    <dgm:pt modelId="{4FC8B7C4-3856-4575-98C0-61DF21BBB224}" type="parTrans" cxnId="{D911F3E1-6C1B-4290-BBD9-FFDED9701389}">
      <dgm:prSet/>
      <dgm:spPr/>
      <dgm:t>
        <a:bodyPr/>
        <a:lstStyle/>
        <a:p>
          <a:endParaRPr lang="en-US"/>
        </a:p>
      </dgm:t>
    </dgm:pt>
    <dgm:pt modelId="{2D848E5C-B3A0-466C-9D6A-79E02F4A8F74}" type="sibTrans" cxnId="{D911F3E1-6C1B-4290-BBD9-FFDED9701389}">
      <dgm:prSet/>
      <dgm:spPr/>
      <dgm:t>
        <a:bodyPr/>
        <a:lstStyle/>
        <a:p>
          <a:endParaRPr lang="en-US"/>
        </a:p>
      </dgm:t>
    </dgm:pt>
    <dgm:pt modelId="{4E17A901-A082-4C82-A8D0-96701E952F7E}" type="pres">
      <dgm:prSet presAssocID="{3782DE83-E419-4A6F-9177-752BB5B7E1E6}" presName="root" presStyleCnt="0">
        <dgm:presLayoutVars>
          <dgm:dir/>
          <dgm:resizeHandles val="exact"/>
        </dgm:presLayoutVars>
      </dgm:prSet>
      <dgm:spPr/>
    </dgm:pt>
    <dgm:pt modelId="{035367E9-E939-47B0-929F-827EE2564BCB}" type="pres">
      <dgm:prSet presAssocID="{14293FDE-6243-43CB-BF56-17EEB3A2E8F1}" presName="compNode" presStyleCnt="0"/>
      <dgm:spPr/>
    </dgm:pt>
    <dgm:pt modelId="{E48EE024-B985-47C1-B38E-91043804035E}" type="pres">
      <dgm:prSet presAssocID="{14293FDE-6243-43CB-BF56-17EEB3A2E8F1}" presName="bgRect" presStyleLbl="bgShp" presStyleIdx="0" presStyleCnt="5"/>
      <dgm:spPr/>
    </dgm:pt>
    <dgm:pt modelId="{47682415-1D24-4E53-8D92-35EC7BF325F7}" type="pres">
      <dgm:prSet presAssocID="{14293FDE-6243-43CB-BF56-17EEB3A2E8F1}" presName="iconRect" presStyleLbl="node1" presStyleIdx="0" presStyleCnt="5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Processor"/>
        </a:ext>
      </dgm:extLst>
    </dgm:pt>
    <dgm:pt modelId="{1129BD25-B997-4D82-A752-1E643CCBB13B}" type="pres">
      <dgm:prSet presAssocID="{14293FDE-6243-43CB-BF56-17EEB3A2E8F1}" presName="spaceRect" presStyleCnt="0"/>
      <dgm:spPr/>
    </dgm:pt>
    <dgm:pt modelId="{55E02FF4-9A31-4D21-A22C-B2CE22287812}" type="pres">
      <dgm:prSet presAssocID="{14293FDE-6243-43CB-BF56-17EEB3A2E8F1}" presName="parTx" presStyleLbl="revTx" presStyleIdx="0" presStyleCnt="5">
        <dgm:presLayoutVars>
          <dgm:chMax val="0"/>
          <dgm:chPref val="0"/>
        </dgm:presLayoutVars>
      </dgm:prSet>
      <dgm:spPr/>
    </dgm:pt>
    <dgm:pt modelId="{4E8E0E7C-06F1-40F7-A723-E9760CBEC567}" type="pres">
      <dgm:prSet presAssocID="{95C9DFFC-E1B8-4535-BE36-CC4A6C17AA73}" presName="sibTrans" presStyleCnt="0"/>
      <dgm:spPr/>
    </dgm:pt>
    <dgm:pt modelId="{BE019156-B56A-410C-B04D-C4BC6B2A2D01}" type="pres">
      <dgm:prSet presAssocID="{B4794E46-AE08-4FB4-9D48-B5432705EABC}" presName="compNode" presStyleCnt="0"/>
      <dgm:spPr/>
    </dgm:pt>
    <dgm:pt modelId="{3B687AE5-BC8E-48F0-B183-B3479E31B497}" type="pres">
      <dgm:prSet presAssocID="{B4794E46-AE08-4FB4-9D48-B5432705EABC}" presName="bgRect" presStyleLbl="bgShp" presStyleIdx="1" presStyleCnt="5"/>
      <dgm:spPr/>
    </dgm:pt>
    <dgm:pt modelId="{8239435E-0EE8-4FE6-BE01-8F7C2617DA6F}" type="pres">
      <dgm:prSet presAssocID="{B4794E46-AE08-4FB4-9D48-B5432705EABC}" presName="iconRect" presStyleLbl="node1" presStyleIdx="1" presStyleCnt="5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tatistics"/>
        </a:ext>
      </dgm:extLst>
    </dgm:pt>
    <dgm:pt modelId="{16FEF2C7-92A0-41C2-9292-2315EE857133}" type="pres">
      <dgm:prSet presAssocID="{B4794E46-AE08-4FB4-9D48-B5432705EABC}" presName="spaceRect" presStyleCnt="0"/>
      <dgm:spPr/>
    </dgm:pt>
    <dgm:pt modelId="{54DADF97-785F-4D91-AD90-A921353749E4}" type="pres">
      <dgm:prSet presAssocID="{B4794E46-AE08-4FB4-9D48-B5432705EABC}" presName="parTx" presStyleLbl="revTx" presStyleIdx="1" presStyleCnt="5">
        <dgm:presLayoutVars>
          <dgm:chMax val="0"/>
          <dgm:chPref val="0"/>
        </dgm:presLayoutVars>
      </dgm:prSet>
      <dgm:spPr/>
    </dgm:pt>
    <dgm:pt modelId="{6DCC86EF-79EF-4863-888D-026EA4CBA846}" type="pres">
      <dgm:prSet presAssocID="{F2A44E82-9945-49A8-A8B4-ECC6DF09993B}" presName="sibTrans" presStyleCnt="0"/>
      <dgm:spPr/>
    </dgm:pt>
    <dgm:pt modelId="{EE7654BC-160A-4BB8-82DF-015F35DD19CF}" type="pres">
      <dgm:prSet presAssocID="{EF34EAC0-F5A2-4484-BA9A-3F7C533364EF}" presName="compNode" presStyleCnt="0"/>
      <dgm:spPr/>
    </dgm:pt>
    <dgm:pt modelId="{A3DB6DF7-75C9-4E2E-B2DE-26FB9E81C3F0}" type="pres">
      <dgm:prSet presAssocID="{EF34EAC0-F5A2-4484-BA9A-3F7C533364EF}" presName="bgRect" presStyleLbl="bgShp" presStyleIdx="2" presStyleCnt="5"/>
      <dgm:spPr/>
    </dgm:pt>
    <dgm:pt modelId="{1AB11F35-037B-43E4-8B20-A232449CAA47}" type="pres">
      <dgm:prSet presAssocID="{EF34EAC0-F5A2-4484-BA9A-3F7C533364EF}" presName="iconRect" presStyleLbl="node1" presStyleIdx="2" presStyleCnt="5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Gears"/>
        </a:ext>
      </dgm:extLst>
    </dgm:pt>
    <dgm:pt modelId="{E36BEB40-4C12-48E7-B8E1-789B6C142A17}" type="pres">
      <dgm:prSet presAssocID="{EF34EAC0-F5A2-4484-BA9A-3F7C533364EF}" presName="spaceRect" presStyleCnt="0"/>
      <dgm:spPr/>
    </dgm:pt>
    <dgm:pt modelId="{8F022A99-120C-4AA4-8CDB-5D14CBB4614D}" type="pres">
      <dgm:prSet presAssocID="{EF34EAC0-F5A2-4484-BA9A-3F7C533364EF}" presName="parTx" presStyleLbl="revTx" presStyleIdx="2" presStyleCnt="5">
        <dgm:presLayoutVars>
          <dgm:chMax val="0"/>
          <dgm:chPref val="0"/>
        </dgm:presLayoutVars>
      </dgm:prSet>
      <dgm:spPr/>
    </dgm:pt>
    <dgm:pt modelId="{832C6D33-AFBF-473B-9BCB-9A91884B1EA2}" type="pres">
      <dgm:prSet presAssocID="{1CAE67D7-FD59-418C-BD1F-9CFF3EFD0952}" presName="sibTrans" presStyleCnt="0"/>
      <dgm:spPr/>
    </dgm:pt>
    <dgm:pt modelId="{AB42389C-CAC5-4244-A654-FBA385D7727D}" type="pres">
      <dgm:prSet presAssocID="{8A85D420-08B4-439C-A519-86458B4DE39B}" presName="compNode" presStyleCnt="0"/>
      <dgm:spPr/>
    </dgm:pt>
    <dgm:pt modelId="{D1CE2EB7-5C8B-41C9-9A9E-DAF3CE30444A}" type="pres">
      <dgm:prSet presAssocID="{8A85D420-08B4-439C-A519-86458B4DE39B}" presName="bgRect" presStyleLbl="bgShp" presStyleIdx="3" presStyleCnt="5"/>
      <dgm:spPr/>
    </dgm:pt>
    <dgm:pt modelId="{3B6ED029-867A-4CEB-9E4F-22E1BEA137E5}" type="pres">
      <dgm:prSet presAssocID="{8A85D420-08B4-439C-A519-86458B4DE39B}" presName="iconRect" presStyleLbl="node1" presStyleIdx="3" presStyleCnt="5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Astronaut"/>
        </a:ext>
      </dgm:extLst>
    </dgm:pt>
    <dgm:pt modelId="{B715E816-98A4-47FA-9786-2F0EC7EB6E4D}" type="pres">
      <dgm:prSet presAssocID="{8A85D420-08B4-439C-A519-86458B4DE39B}" presName="spaceRect" presStyleCnt="0"/>
      <dgm:spPr/>
    </dgm:pt>
    <dgm:pt modelId="{EA781466-86E9-4F90-8BBF-5DE9A830D9A6}" type="pres">
      <dgm:prSet presAssocID="{8A85D420-08B4-439C-A519-86458B4DE39B}" presName="parTx" presStyleLbl="revTx" presStyleIdx="3" presStyleCnt="5">
        <dgm:presLayoutVars>
          <dgm:chMax val="0"/>
          <dgm:chPref val="0"/>
        </dgm:presLayoutVars>
      </dgm:prSet>
      <dgm:spPr/>
    </dgm:pt>
    <dgm:pt modelId="{1E1B3181-2007-4498-B5F6-BC064BF25800}" type="pres">
      <dgm:prSet presAssocID="{DCBF79C3-B2E4-47ED-B02E-10790DD66713}" presName="sibTrans" presStyleCnt="0"/>
      <dgm:spPr/>
    </dgm:pt>
    <dgm:pt modelId="{C0A64741-92AF-4820-B694-3D8C876106DC}" type="pres">
      <dgm:prSet presAssocID="{0BEC73A8-F758-4206-9106-AB5AC370AA71}" presName="compNode" presStyleCnt="0"/>
      <dgm:spPr/>
    </dgm:pt>
    <dgm:pt modelId="{6325ED0D-2D97-4788-9280-DDA302ADED2D}" type="pres">
      <dgm:prSet presAssocID="{0BEC73A8-F758-4206-9106-AB5AC370AA71}" presName="bgRect" presStyleLbl="bgShp" presStyleIdx="4" presStyleCnt="5"/>
      <dgm:spPr/>
    </dgm:pt>
    <dgm:pt modelId="{FD6A3461-CFC3-4866-B298-1FF8793FD4E4}" type="pres">
      <dgm:prSet presAssocID="{0BEC73A8-F758-4206-9106-AB5AC370AA71}" presName="iconRect" presStyleLbl="node1" presStyleIdx="4" presStyleCnt="5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Handshake"/>
        </a:ext>
      </dgm:extLst>
    </dgm:pt>
    <dgm:pt modelId="{5BA7168D-3DE1-4567-9164-1CB82E40C64A}" type="pres">
      <dgm:prSet presAssocID="{0BEC73A8-F758-4206-9106-AB5AC370AA71}" presName="spaceRect" presStyleCnt="0"/>
      <dgm:spPr/>
    </dgm:pt>
    <dgm:pt modelId="{5C3EB6CD-530D-41AB-8BEC-364D7E502BBE}" type="pres">
      <dgm:prSet presAssocID="{0BEC73A8-F758-4206-9106-AB5AC370AA71}" presName="parTx" presStyleLbl="revTx" presStyleIdx="4" presStyleCnt="5">
        <dgm:presLayoutVars>
          <dgm:chMax val="0"/>
          <dgm:chPref val="0"/>
        </dgm:presLayoutVars>
      </dgm:prSet>
      <dgm:spPr/>
    </dgm:pt>
  </dgm:ptLst>
  <dgm:cxnLst>
    <dgm:cxn modelId="{E6402100-D78C-40E8-9629-820828C55566}" type="presOf" srcId="{B4794E46-AE08-4FB4-9D48-B5432705EABC}" destId="{54DADF97-785F-4D91-AD90-A921353749E4}" srcOrd="0" destOrd="0" presId="urn:microsoft.com/office/officeart/2018/2/layout/IconVerticalSolidList"/>
    <dgm:cxn modelId="{DBC2E10D-10DB-4EC9-8F14-5911E6615B28}" srcId="{3782DE83-E419-4A6F-9177-752BB5B7E1E6}" destId="{8A85D420-08B4-439C-A519-86458B4DE39B}" srcOrd="3" destOrd="0" parTransId="{D9265F5F-E1E4-4BF1-9E46-5FBE39501DFD}" sibTransId="{DCBF79C3-B2E4-47ED-B02E-10790DD66713}"/>
    <dgm:cxn modelId="{9EB2150F-7F0B-4068-8E49-AF079C675898}" srcId="{3782DE83-E419-4A6F-9177-752BB5B7E1E6}" destId="{14293FDE-6243-43CB-BF56-17EEB3A2E8F1}" srcOrd="0" destOrd="0" parTransId="{5FA6F3D3-A6DE-44AB-9133-FF4155784577}" sibTransId="{95C9DFFC-E1B8-4535-BE36-CC4A6C17AA73}"/>
    <dgm:cxn modelId="{F7302331-7497-47E5-BDBC-3864CF628F27}" srcId="{3782DE83-E419-4A6F-9177-752BB5B7E1E6}" destId="{EF34EAC0-F5A2-4484-BA9A-3F7C533364EF}" srcOrd="2" destOrd="0" parTransId="{0107AF5C-39B7-41B6-BCFE-AD2A9D12D479}" sibTransId="{1CAE67D7-FD59-418C-BD1F-9CFF3EFD0952}"/>
    <dgm:cxn modelId="{CA419833-622B-4984-9143-74FB63FC0242}" srcId="{3782DE83-E419-4A6F-9177-752BB5B7E1E6}" destId="{B4794E46-AE08-4FB4-9D48-B5432705EABC}" srcOrd="1" destOrd="0" parTransId="{55F12A05-83A2-43C2-BAC9-1653F2374737}" sibTransId="{F2A44E82-9945-49A8-A8B4-ECC6DF09993B}"/>
    <dgm:cxn modelId="{04567F68-30CB-421B-B0D3-39EB3EA1C0CD}" type="presOf" srcId="{14293FDE-6243-43CB-BF56-17EEB3A2E8F1}" destId="{55E02FF4-9A31-4D21-A22C-B2CE22287812}" srcOrd="0" destOrd="0" presId="urn:microsoft.com/office/officeart/2018/2/layout/IconVerticalSolidList"/>
    <dgm:cxn modelId="{D8D7E89A-3F21-4845-A97D-E60AD9214894}" type="presOf" srcId="{3782DE83-E419-4A6F-9177-752BB5B7E1E6}" destId="{4E17A901-A082-4C82-A8D0-96701E952F7E}" srcOrd="0" destOrd="0" presId="urn:microsoft.com/office/officeart/2018/2/layout/IconVerticalSolidList"/>
    <dgm:cxn modelId="{62C6329F-7E78-4F4B-B778-DAE7A836B490}" type="presOf" srcId="{EF34EAC0-F5A2-4484-BA9A-3F7C533364EF}" destId="{8F022A99-120C-4AA4-8CDB-5D14CBB4614D}" srcOrd="0" destOrd="0" presId="urn:microsoft.com/office/officeart/2018/2/layout/IconVerticalSolidList"/>
    <dgm:cxn modelId="{5FB4E8AF-C7D0-40B8-B582-E013253EAA44}" type="presOf" srcId="{0BEC73A8-F758-4206-9106-AB5AC370AA71}" destId="{5C3EB6CD-530D-41AB-8BEC-364D7E502BBE}" srcOrd="0" destOrd="0" presId="urn:microsoft.com/office/officeart/2018/2/layout/IconVerticalSolidList"/>
    <dgm:cxn modelId="{386664B1-F5C9-4374-92DE-357DBEAB563C}" type="presOf" srcId="{8A85D420-08B4-439C-A519-86458B4DE39B}" destId="{EA781466-86E9-4F90-8BBF-5DE9A830D9A6}" srcOrd="0" destOrd="0" presId="urn:microsoft.com/office/officeart/2018/2/layout/IconVerticalSolidList"/>
    <dgm:cxn modelId="{D911F3E1-6C1B-4290-BBD9-FFDED9701389}" srcId="{3782DE83-E419-4A6F-9177-752BB5B7E1E6}" destId="{0BEC73A8-F758-4206-9106-AB5AC370AA71}" srcOrd="4" destOrd="0" parTransId="{4FC8B7C4-3856-4575-98C0-61DF21BBB224}" sibTransId="{2D848E5C-B3A0-466C-9D6A-79E02F4A8F74}"/>
    <dgm:cxn modelId="{3C4452A1-0692-4118-89F2-263FE52EAF83}" type="presParOf" srcId="{4E17A901-A082-4C82-A8D0-96701E952F7E}" destId="{035367E9-E939-47B0-929F-827EE2564BCB}" srcOrd="0" destOrd="0" presId="urn:microsoft.com/office/officeart/2018/2/layout/IconVerticalSolidList"/>
    <dgm:cxn modelId="{898730FA-64B1-47CA-B294-8229F09C5F94}" type="presParOf" srcId="{035367E9-E939-47B0-929F-827EE2564BCB}" destId="{E48EE024-B985-47C1-B38E-91043804035E}" srcOrd="0" destOrd="0" presId="urn:microsoft.com/office/officeart/2018/2/layout/IconVerticalSolidList"/>
    <dgm:cxn modelId="{FE842DF1-F4C2-4B1E-8FEC-C713FB0E3F96}" type="presParOf" srcId="{035367E9-E939-47B0-929F-827EE2564BCB}" destId="{47682415-1D24-4E53-8D92-35EC7BF325F7}" srcOrd="1" destOrd="0" presId="urn:microsoft.com/office/officeart/2018/2/layout/IconVerticalSolidList"/>
    <dgm:cxn modelId="{62F795C2-574E-4E87-8270-B3784C65311D}" type="presParOf" srcId="{035367E9-E939-47B0-929F-827EE2564BCB}" destId="{1129BD25-B997-4D82-A752-1E643CCBB13B}" srcOrd="2" destOrd="0" presId="urn:microsoft.com/office/officeart/2018/2/layout/IconVerticalSolidList"/>
    <dgm:cxn modelId="{6B1BFEF9-6D7B-4BE0-878F-443161A9A961}" type="presParOf" srcId="{035367E9-E939-47B0-929F-827EE2564BCB}" destId="{55E02FF4-9A31-4D21-A22C-B2CE22287812}" srcOrd="3" destOrd="0" presId="urn:microsoft.com/office/officeart/2018/2/layout/IconVerticalSolidList"/>
    <dgm:cxn modelId="{17F49DBD-AB95-4952-9823-49B59F6B172F}" type="presParOf" srcId="{4E17A901-A082-4C82-A8D0-96701E952F7E}" destId="{4E8E0E7C-06F1-40F7-A723-E9760CBEC567}" srcOrd="1" destOrd="0" presId="urn:microsoft.com/office/officeart/2018/2/layout/IconVerticalSolidList"/>
    <dgm:cxn modelId="{7FC8BD5E-371A-4E61-AB38-307BCB40EFA2}" type="presParOf" srcId="{4E17A901-A082-4C82-A8D0-96701E952F7E}" destId="{BE019156-B56A-410C-B04D-C4BC6B2A2D01}" srcOrd="2" destOrd="0" presId="urn:microsoft.com/office/officeart/2018/2/layout/IconVerticalSolidList"/>
    <dgm:cxn modelId="{DBDC37E7-6136-457F-925F-DB176776DD8D}" type="presParOf" srcId="{BE019156-B56A-410C-B04D-C4BC6B2A2D01}" destId="{3B687AE5-BC8E-48F0-B183-B3479E31B497}" srcOrd="0" destOrd="0" presId="urn:microsoft.com/office/officeart/2018/2/layout/IconVerticalSolidList"/>
    <dgm:cxn modelId="{5417022C-591C-498F-B3C6-1B6EDDB9651E}" type="presParOf" srcId="{BE019156-B56A-410C-B04D-C4BC6B2A2D01}" destId="{8239435E-0EE8-4FE6-BE01-8F7C2617DA6F}" srcOrd="1" destOrd="0" presId="urn:microsoft.com/office/officeart/2018/2/layout/IconVerticalSolidList"/>
    <dgm:cxn modelId="{F1A58F7B-8CE3-4BFC-B4E3-69D4F40D6152}" type="presParOf" srcId="{BE019156-B56A-410C-B04D-C4BC6B2A2D01}" destId="{16FEF2C7-92A0-41C2-9292-2315EE857133}" srcOrd="2" destOrd="0" presId="urn:microsoft.com/office/officeart/2018/2/layout/IconVerticalSolidList"/>
    <dgm:cxn modelId="{4127AD36-87F1-429A-A813-6091FDF3FC16}" type="presParOf" srcId="{BE019156-B56A-410C-B04D-C4BC6B2A2D01}" destId="{54DADF97-785F-4D91-AD90-A921353749E4}" srcOrd="3" destOrd="0" presId="urn:microsoft.com/office/officeart/2018/2/layout/IconVerticalSolidList"/>
    <dgm:cxn modelId="{DFF5A64A-140B-4C3A-85C2-0F82247AC239}" type="presParOf" srcId="{4E17A901-A082-4C82-A8D0-96701E952F7E}" destId="{6DCC86EF-79EF-4863-888D-026EA4CBA846}" srcOrd="3" destOrd="0" presId="urn:microsoft.com/office/officeart/2018/2/layout/IconVerticalSolidList"/>
    <dgm:cxn modelId="{7A4C94E4-F47E-4AEF-8189-E793B468EFB3}" type="presParOf" srcId="{4E17A901-A082-4C82-A8D0-96701E952F7E}" destId="{EE7654BC-160A-4BB8-82DF-015F35DD19CF}" srcOrd="4" destOrd="0" presId="urn:microsoft.com/office/officeart/2018/2/layout/IconVerticalSolidList"/>
    <dgm:cxn modelId="{9D992522-F797-4E43-B477-C40718340877}" type="presParOf" srcId="{EE7654BC-160A-4BB8-82DF-015F35DD19CF}" destId="{A3DB6DF7-75C9-4E2E-B2DE-26FB9E81C3F0}" srcOrd="0" destOrd="0" presId="urn:microsoft.com/office/officeart/2018/2/layout/IconVerticalSolidList"/>
    <dgm:cxn modelId="{899A7D93-1FB2-470F-949F-50B49770DA2D}" type="presParOf" srcId="{EE7654BC-160A-4BB8-82DF-015F35DD19CF}" destId="{1AB11F35-037B-43E4-8B20-A232449CAA47}" srcOrd="1" destOrd="0" presId="urn:microsoft.com/office/officeart/2018/2/layout/IconVerticalSolidList"/>
    <dgm:cxn modelId="{B0F39008-7905-4AFA-B046-BA6E4FB69B10}" type="presParOf" srcId="{EE7654BC-160A-4BB8-82DF-015F35DD19CF}" destId="{E36BEB40-4C12-48E7-B8E1-789B6C142A17}" srcOrd="2" destOrd="0" presId="urn:microsoft.com/office/officeart/2018/2/layout/IconVerticalSolidList"/>
    <dgm:cxn modelId="{9BDB645A-EB1E-405B-B6C7-B4E8287439AE}" type="presParOf" srcId="{EE7654BC-160A-4BB8-82DF-015F35DD19CF}" destId="{8F022A99-120C-4AA4-8CDB-5D14CBB4614D}" srcOrd="3" destOrd="0" presId="urn:microsoft.com/office/officeart/2018/2/layout/IconVerticalSolidList"/>
    <dgm:cxn modelId="{56B3B01F-8420-4A29-9580-D833140CB4C3}" type="presParOf" srcId="{4E17A901-A082-4C82-A8D0-96701E952F7E}" destId="{832C6D33-AFBF-473B-9BCB-9A91884B1EA2}" srcOrd="5" destOrd="0" presId="urn:microsoft.com/office/officeart/2018/2/layout/IconVerticalSolidList"/>
    <dgm:cxn modelId="{85BDC5EA-B4D5-4319-BBAA-07461B55C354}" type="presParOf" srcId="{4E17A901-A082-4C82-A8D0-96701E952F7E}" destId="{AB42389C-CAC5-4244-A654-FBA385D7727D}" srcOrd="6" destOrd="0" presId="urn:microsoft.com/office/officeart/2018/2/layout/IconVerticalSolidList"/>
    <dgm:cxn modelId="{D7127F83-30B6-499D-BDC7-C6D9250C0A73}" type="presParOf" srcId="{AB42389C-CAC5-4244-A654-FBA385D7727D}" destId="{D1CE2EB7-5C8B-41C9-9A9E-DAF3CE30444A}" srcOrd="0" destOrd="0" presId="urn:microsoft.com/office/officeart/2018/2/layout/IconVerticalSolidList"/>
    <dgm:cxn modelId="{DF538966-C6B5-4228-A17D-8DBC692CD519}" type="presParOf" srcId="{AB42389C-CAC5-4244-A654-FBA385D7727D}" destId="{3B6ED029-867A-4CEB-9E4F-22E1BEA137E5}" srcOrd="1" destOrd="0" presId="urn:microsoft.com/office/officeart/2018/2/layout/IconVerticalSolidList"/>
    <dgm:cxn modelId="{C9E28164-F1E5-4497-A2A6-D73A0E17626A}" type="presParOf" srcId="{AB42389C-CAC5-4244-A654-FBA385D7727D}" destId="{B715E816-98A4-47FA-9786-2F0EC7EB6E4D}" srcOrd="2" destOrd="0" presId="urn:microsoft.com/office/officeart/2018/2/layout/IconVerticalSolidList"/>
    <dgm:cxn modelId="{0869D478-3E3C-4C82-8572-47802430D080}" type="presParOf" srcId="{AB42389C-CAC5-4244-A654-FBA385D7727D}" destId="{EA781466-86E9-4F90-8BBF-5DE9A830D9A6}" srcOrd="3" destOrd="0" presId="urn:microsoft.com/office/officeart/2018/2/layout/IconVerticalSolidList"/>
    <dgm:cxn modelId="{6A6358E3-699A-4A8E-A060-C13680F7B4D2}" type="presParOf" srcId="{4E17A901-A082-4C82-A8D0-96701E952F7E}" destId="{1E1B3181-2007-4498-B5F6-BC064BF25800}" srcOrd="7" destOrd="0" presId="urn:microsoft.com/office/officeart/2018/2/layout/IconVerticalSolidList"/>
    <dgm:cxn modelId="{0CC8EDB6-1F59-42C0-8D8F-F8C8ECC1090A}" type="presParOf" srcId="{4E17A901-A082-4C82-A8D0-96701E952F7E}" destId="{C0A64741-92AF-4820-B694-3D8C876106DC}" srcOrd="8" destOrd="0" presId="urn:microsoft.com/office/officeart/2018/2/layout/IconVerticalSolidList"/>
    <dgm:cxn modelId="{291002C5-7B1F-431E-A5E0-BFEF6805A9BE}" type="presParOf" srcId="{C0A64741-92AF-4820-B694-3D8C876106DC}" destId="{6325ED0D-2D97-4788-9280-DDA302ADED2D}" srcOrd="0" destOrd="0" presId="urn:microsoft.com/office/officeart/2018/2/layout/IconVerticalSolidList"/>
    <dgm:cxn modelId="{97DB63A5-7A14-48DA-837A-200F00037ED9}" type="presParOf" srcId="{C0A64741-92AF-4820-B694-3D8C876106DC}" destId="{FD6A3461-CFC3-4866-B298-1FF8793FD4E4}" srcOrd="1" destOrd="0" presId="urn:microsoft.com/office/officeart/2018/2/layout/IconVerticalSolidList"/>
    <dgm:cxn modelId="{11FE3A32-3B3F-4BBA-AAD6-9B3F9965E413}" type="presParOf" srcId="{C0A64741-92AF-4820-B694-3D8C876106DC}" destId="{5BA7168D-3DE1-4567-9164-1CB82E40C64A}" srcOrd="2" destOrd="0" presId="urn:microsoft.com/office/officeart/2018/2/layout/IconVerticalSolidList"/>
    <dgm:cxn modelId="{C57AC77D-1062-49BF-9A2D-2491B91EDCD8}" type="presParOf" srcId="{C0A64741-92AF-4820-B694-3D8C876106DC}" destId="{5C3EB6CD-530D-41AB-8BEC-364D7E502BBE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20C4F28-6B35-41DA-B7F4-3DDD8DB119FB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CFCCDEC-A55F-4321-AECA-7AA626724C7D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Automates detection of data drift, ensuring model relevance in production</a:t>
          </a:r>
        </a:p>
      </dgm:t>
    </dgm:pt>
    <dgm:pt modelId="{5C478992-2BA0-442E-A7DC-933A52948AC5}" type="parTrans" cxnId="{0CAA2649-F5A9-467A-BAB1-C9FF3B569216}">
      <dgm:prSet/>
      <dgm:spPr/>
      <dgm:t>
        <a:bodyPr/>
        <a:lstStyle/>
        <a:p>
          <a:endParaRPr lang="en-US"/>
        </a:p>
      </dgm:t>
    </dgm:pt>
    <dgm:pt modelId="{9350BBE1-9472-4E47-8543-5FD671697018}" type="sibTrans" cxnId="{0CAA2649-F5A9-467A-BAB1-C9FF3B569216}">
      <dgm:prSet/>
      <dgm:spPr/>
      <dgm:t>
        <a:bodyPr/>
        <a:lstStyle/>
        <a:p>
          <a:endParaRPr lang="en-US"/>
        </a:p>
      </dgm:t>
    </dgm:pt>
    <dgm:pt modelId="{B9F21580-CD2B-4765-A568-715F5CFAA9A2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Monitors data quality metrics continuously to maintain integrity</a:t>
          </a:r>
        </a:p>
      </dgm:t>
    </dgm:pt>
    <dgm:pt modelId="{82D969E2-D7ED-4C91-BDB2-EB0F4EB36478}" type="parTrans" cxnId="{079A332D-6126-46FE-93DB-4A671D176D36}">
      <dgm:prSet/>
      <dgm:spPr/>
      <dgm:t>
        <a:bodyPr/>
        <a:lstStyle/>
        <a:p>
          <a:endParaRPr lang="en-US"/>
        </a:p>
      </dgm:t>
    </dgm:pt>
    <dgm:pt modelId="{CCDAC923-4E66-4CA6-A71F-08F75872306A}" type="sibTrans" cxnId="{079A332D-6126-46FE-93DB-4A671D176D36}">
      <dgm:prSet/>
      <dgm:spPr/>
      <dgm:t>
        <a:bodyPr/>
        <a:lstStyle/>
        <a:p>
          <a:endParaRPr lang="en-US"/>
        </a:p>
      </dgm:t>
    </dgm:pt>
    <dgm:pt modelId="{7C0BA065-68A7-4BA8-BA9B-971E7D7AC869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Tracks comprehensive model performance metrics to assess accuracy and fairness</a:t>
          </a:r>
        </a:p>
      </dgm:t>
    </dgm:pt>
    <dgm:pt modelId="{8D4D8F5A-8F61-4C7F-BEC9-29D50D74CC69}" type="parTrans" cxnId="{05E0A74D-574D-4A49-B158-6E2D6D71A23D}">
      <dgm:prSet/>
      <dgm:spPr/>
      <dgm:t>
        <a:bodyPr/>
        <a:lstStyle/>
        <a:p>
          <a:endParaRPr lang="en-US"/>
        </a:p>
      </dgm:t>
    </dgm:pt>
    <dgm:pt modelId="{A955D91A-7780-4B29-AD74-08E2CE573B2C}" type="sibTrans" cxnId="{05E0A74D-574D-4A49-B158-6E2D6D71A23D}">
      <dgm:prSet/>
      <dgm:spPr/>
      <dgm:t>
        <a:bodyPr/>
        <a:lstStyle/>
        <a:p>
          <a:endParaRPr lang="en-US"/>
        </a:p>
      </dgm:t>
    </dgm:pt>
    <dgm:pt modelId="{57B42A7C-CEA2-4A49-B065-E91AFEEC15E1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Supports multiple data formats and integrates with MLflow, pickle artifacts, and data pipelines</a:t>
          </a:r>
        </a:p>
      </dgm:t>
    </dgm:pt>
    <dgm:pt modelId="{ACCD2A2C-C8DB-41D7-A4CC-9D7446777134}" type="parTrans" cxnId="{DC554D9F-4031-4574-812E-7049410AEE14}">
      <dgm:prSet/>
      <dgm:spPr/>
      <dgm:t>
        <a:bodyPr/>
        <a:lstStyle/>
        <a:p>
          <a:endParaRPr lang="en-US"/>
        </a:p>
      </dgm:t>
    </dgm:pt>
    <dgm:pt modelId="{275F6830-ACA3-49FA-84BF-B9A8E991223F}" type="sibTrans" cxnId="{DC554D9F-4031-4574-812E-7049410AEE14}">
      <dgm:prSet/>
      <dgm:spPr/>
      <dgm:t>
        <a:bodyPr/>
        <a:lstStyle/>
        <a:p>
          <a:endParaRPr lang="en-US"/>
        </a:p>
      </dgm:t>
    </dgm:pt>
    <dgm:pt modelId="{C7E027C1-25AA-450B-9100-159F06C33048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Enables real-time observability and governance for proactive feature shift detection</a:t>
          </a:r>
        </a:p>
      </dgm:t>
    </dgm:pt>
    <dgm:pt modelId="{AC4B1705-C7B2-4785-AC97-C9C889372022}" type="parTrans" cxnId="{36A962BB-E507-4D38-BAD4-B5BAB917796D}">
      <dgm:prSet/>
      <dgm:spPr/>
      <dgm:t>
        <a:bodyPr/>
        <a:lstStyle/>
        <a:p>
          <a:endParaRPr lang="en-US"/>
        </a:p>
      </dgm:t>
    </dgm:pt>
    <dgm:pt modelId="{A03CD4A2-0E76-437E-9018-79C36218C3DE}" type="sibTrans" cxnId="{36A962BB-E507-4D38-BAD4-B5BAB917796D}">
      <dgm:prSet/>
      <dgm:spPr/>
      <dgm:t>
        <a:bodyPr/>
        <a:lstStyle/>
        <a:p>
          <a:endParaRPr lang="en-US"/>
        </a:p>
      </dgm:t>
    </dgm:pt>
    <dgm:pt modelId="{6D0F9617-CEA1-4EDB-B4C6-01C28B7FDAD9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Exports consolidated monitoring reports facilitating transparency and regulatory compliance</a:t>
          </a:r>
        </a:p>
      </dgm:t>
    </dgm:pt>
    <dgm:pt modelId="{4C801411-4571-4E2F-8D49-DE036C8E62EC}" type="parTrans" cxnId="{D9E6FE8E-250A-4B5C-8F4E-25ADF9E102F4}">
      <dgm:prSet/>
      <dgm:spPr/>
      <dgm:t>
        <a:bodyPr/>
        <a:lstStyle/>
        <a:p>
          <a:endParaRPr lang="en-US"/>
        </a:p>
      </dgm:t>
    </dgm:pt>
    <dgm:pt modelId="{9AAEFBE6-10D0-462B-9D9B-4BA6A137F0AF}" type="sibTrans" cxnId="{D9E6FE8E-250A-4B5C-8F4E-25ADF9E102F4}">
      <dgm:prSet/>
      <dgm:spPr/>
      <dgm:t>
        <a:bodyPr/>
        <a:lstStyle/>
        <a:p>
          <a:endParaRPr lang="en-US"/>
        </a:p>
      </dgm:t>
    </dgm:pt>
    <dgm:pt modelId="{D2D9C0DC-3FA2-49EE-8FB2-634019CC4959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Ensures sustained trust and compliance in automated decision-making systems</a:t>
          </a:r>
        </a:p>
      </dgm:t>
    </dgm:pt>
    <dgm:pt modelId="{7E4AB9EF-AA84-485F-91AA-61FC4DC23AA7}" type="parTrans" cxnId="{AB44F04C-1B22-4AA9-8432-83304EEC1895}">
      <dgm:prSet/>
      <dgm:spPr/>
      <dgm:t>
        <a:bodyPr/>
        <a:lstStyle/>
        <a:p>
          <a:endParaRPr lang="en-US"/>
        </a:p>
      </dgm:t>
    </dgm:pt>
    <dgm:pt modelId="{4F45AF83-C7B5-41EF-A1E7-CDC9499FA05B}" type="sibTrans" cxnId="{AB44F04C-1B22-4AA9-8432-83304EEC1895}">
      <dgm:prSet/>
      <dgm:spPr/>
      <dgm:t>
        <a:bodyPr/>
        <a:lstStyle/>
        <a:p>
          <a:endParaRPr lang="en-US"/>
        </a:p>
      </dgm:t>
    </dgm:pt>
    <dgm:pt modelId="{24000583-F26B-4CFA-8F5C-D26AECCE74D5}" type="pres">
      <dgm:prSet presAssocID="{A20C4F28-6B35-41DA-B7F4-3DDD8DB119FB}" presName="root" presStyleCnt="0">
        <dgm:presLayoutVars>
          <dgm:dir/>
          <dgm:resizeHandles val="exact"/>
        </dgm:presLayoutVars>
      </dgm:prSet>
      <dgm:spPr/>
    </dgm:pt>
    <dgm:pt modelId="{4C2CDF12-41D1-4687-9178-D4D3CA4834D6}" type="pres">
      <dgm:prSet presAssocID="{2CFCCDEC-A55F-4321-AECA-7AA626724C7D}" presName="compNode" presStyleCnt="0"/>
      <dgm:spPr/>
    </dgm:pt>
    <dgm:pt modelId="{088B3058-007E-42C9-970E-03E15849516C}" type="pres">
      <dgm:prSet presAssocID="{2CFCCDEC-A55F-4321-AECA-7AA626724C7D}" presName="bgRect" presStyleLbl="bgShp" presStyleIdx="0" presStyleCnt="7"/>
      <dgm:spPr/>
    </dgm:pt>
    <dgm:pt modelId="{BBCE9855-A625-428E-AB67-11A147F0A907}" type="pres">
      <dgm:prSet presAssocID="{2CFCCDEC-A55F-4321-AECA-7AA626724C7D}" presName="iconRect" presStyleLbl="node1" presStyleIdx="0" presStyleCnt="7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Gears"/>
        </a:ext>
      </dgm:extLst>
    </dgm:pt>
    <dgm:pt modelId="{E3743030-6E99-449F-95A5-5A0C64048A4F}" type="pres">
      <dgm:prSet presAssocID="{2CFCCDEC-A55F-4321-AECA-7AA626724C7D}" presName="spaceRect" presStyleCnt="0"/>
      <dgm:spPr/>
    </dgm:pt>
    <dgm:pt modelId="{E998BADA-B72D-4AE7-9438-E1D08A809484}" type="pres">
      <dgm:prSet presAssocID="{2CFCCDEC-A55F-4321-AECA-7AA626724C7D}" presName="parTx" presStyleLbl="revTx" presStyleIdx="0" presStyleCnt="7">
        <dgm:presLayoutVars>
          <dgm:chMax val="0"/>
          <dgm:chPref val="0"/>
        </dgm:presLayoutVars>
      </dgm:prSet>
      <dgm:spPr/>
    </dgm:pt>
    <dgm:pt modelId="{A199C67F-935E-4DB9-A8CA-A8C09C912D1D}" type="pres">
      <dgm:prSet presAssocID="{9350BBE1-9472-4E47-8543-5FD671697018}" presName="sibTrans" presStyleCnt="0"/>
      <dgm:spPr/>
    </dgm:pt>
    <dgm:pt modelId="{B88813C7-A6DB-400F-911B-E733FABEF39B}" type="pres">
      <dgm:prSet presAssocID="{B9F21580-CD2B-4765-A568-715F5CFAA9A2}" presName="compNode" presStyleCnt="0"/>
      <dgm:spPr/>
    </dgm:pt>
    <dgm:pt modelId="{2AB76764-6CE0-4FDB-A902-61DBF2074212}" type="pres">
      <dgm:prSet presAssocID="{B9F21580-CD2B-4765-A568-715F5CFAA9A2}" presName="bgRect" presStyleLbl="bgShp" presStyleIdx="1" presStyleCnt="7"/>
      <dgm:spPr/>
    </dgm:pt>
    <dgm:pt modelId="{84B53168-70D0-478F-93D9-4FDB49EE9D73}" type="pres">
      <dgm:prSet presAssocID="{B9F21580-CD2B-4765-A568-715F5CFAA9A2}" presName="iconRect" presStyleLbl="node1" presStyleIdx="1" presStyleCnt="7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Gauge"/>
        </a:ext>
      </dgm:extLst>
    </dgm:pt>
    <dgm:pt modelId="{F3907A56-DD4B-4E9C-9D15-8481EE7E290C}" type="pres">
      <dgm:prSet presAssocID="{B9F21580-CD2B-4765-A568-715F5CFAA9A2}" presName="spaceRect" presStyleCnt="0"/>
      <dgm:spPr/>
    </dgm:pt>
    <dgm:pt modelId="{9ED7C835-98BA-4498-B302-32A2B641536E}" type="pres">
      <dgm:prSet presAssocID="{B9F21580-CD2B-4765-A568-715F5CFAA9A2}" presName="parTx" presStyleLbl="revTx" presStyleIdx="1" presStyleCnt="7">
        <dgm:presLayoutVars>
          <dgm:chMax val="0"/>
          <dgm:chPref val="0"/>
        </dgm:presLayoutVars>
      </dgm:prSet>
      <dgm:spPr/>
    </dgm:pt>
    <dgm:pt modelId="{71C5EB71-D3F5-46E5-82F9-59E1AA88E41A}" type="pres">
      <dgm:prSet presAssocID="{CCDAC923-4E66-4CA6-A71F-08F75872306A}" presName="sibTrans" presStyleCnt="0"/>
      <dgm:spPr/>
    </dgm:pt>
    <dgm:pt modelId="{755A985A-C3C4-4FC9-8797-EA9AB4F4241D}" type="pres">
      <dgm:prSet presAssocID="{7C0BA065-68A7-4BA8-BA9B-971E7D7AC869}" presName="compNode" presStyleCnt="0"/>
      <dgm:spPr/>
    </dgm:pt>
    <dgm:pt modelId="{018E4AD8-D7F0-4A2E-8252-808DEF89C969}" type="pres">
      <dgm:prSet presAssocID="{7C0BA065-68A7-4BA8-BA9B-971E7D7AC869}" presName="bgRect" presStyleLbl="bgShp" presStyleIdx="2" presStyleCnt="7"/>
      <dgm:spPr/>
    </dgm:pt>
    <dgm:pt modelId="{129D279B-B4F6-4975-9B91-61FD4329857C}" type="pres">
      <dgm:prSet presAssocID="{7C0BA065-68A7-4BA8-BA9B-971E7D7AC869}" presName="iconRect" presStyleLbl="node1" presStyleIdx="2" presStyleCnt="7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ar chart"/>
        </a:ext>
      </dgm:extLst>
    </dgm:pt>
    <dgm:pt modelId="{64F94E60-3CFC-43D8-9817-91FCBA019DEF}" type="pres">
      <dgm:prSet presAssocID="{7C0BA065-68A7-4BA8-BA9B-971E7D7AC869}" presName="spaceRect" presStyleCnt="0"/>
      <dgm:spPr/>
    </dgm:pt>
    <dgm:pt modelId="{1C6DCEFA-072F-4EBE-8DC5-77F8248D9945}" type="pres">
      <dgm:prSet presAssocID="{7C0BA065-68A7-4BA8-BA9B-971E7D7AC869}" presName="parTx" presStyleLbl="revTx" presStyleIdx="2" presStyleCnt="7">
        <dgm:presLayoutVars>
          <dgm:chMax val="0"/>
          <dgm:chPref val="0"/>
        </dgm:presLayoutVars>
      </dgm:prSet>
      <dgm:spPr/>
    </dgm:pt>
    <dgm:pt modelId="{6207E6A2-287A-4FEA-AD8D-88688E42F98E}" type="pres">
      <dgm:prSet presAssocID="{A955D91A-7780-4B29-AD74-08E2CE573B2C}" presName="sibTrans" presStyleCnt="0"/>
      <dgm:spPr/>
    </dgm:pt>
    <dgm:pt modelId="{EAA5D9A0-828F-428E-9515-C224A700637E}" type="pres">
      <dgm:prSet presAssocID="{57B42A7C-CEA2-4A49-B065-E91AFEEC15E1}" presName="compNode" presStyleCnt="0"/>
      <dgm:spPr/>
    </dgm:pt>
    <dgm:pt modelId="{DB08AE8C-5BF4-4DE8-B0A5-41A41C3071B1}" type="pres">
      <dgm:prSet presAssocID="{57B42A7C-CEA2-4A49-B065-E91AFEEC15E1}" presName="bgRect" presStyleLbl="bgShp" presStyleIdx="3" presStyleCnt="7"/>
      <dgm:spPr/>
    </dgm:pt>
    <dgm:pt modelId="{FB3C9E56-A332-4B3C-A185-81A385390DF5}" type="pres">
      <dgm:prSet presAssocID="{57B42A7C-CEA2-4A49-B065-E91AFEEC15E1}" presName="iconRect" presStyleLbl="node1" presStyleIdx="3" presStyleCnt="7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Flowchart"/>
        </a:ext>
      </dgm:extLst>
    </dgm:pt>
    <dgm:pt modelId="{7CEC58A2-61CD-4142-A6B6-439DF4AEAE88}" type="pres">
      <dgm:prSet presAssocID="{57B42A7C-CEA2-4A49-B065-E91AFEEC15E1}" presName="spaceRect" presStyleCnt="0"/>
      <dgm:spPr/>
    </dgm:pt>
    <dgm:pt modelId="{998C069F-BACE-4DF0-9D7D-9144EB860054}" type="pres">
      <dgm:prSet presAssocID="{57B42A7C-CEA2-4A49-B065-E91AFEEC15E1}" presName="parTx" presStyleLbl="revTx" presStyleIdx="3" presStyleCnt="7">
        <dgm:presLayoutVars>
          <dgm:chMax val="0"/>
          <dgm:chPref val="0"/>
        </dgm:presLayoutVars>
      </dgm:prSet>
      <dgm:spPr/>
    </dgm:pt>
    <dgm:pt modelId="{483588DF-B1D1-47BE-8BC1-3FE3BF281CBF}" type="pres">
      <dgm:prSet presAssocID="{275F6830-ACA3-49FA-84BF-B9A8E991223F}" presName="sibTrans" presStyleCnt="0"/>
      <dgm:spPr/>
    </dgm:pt>
    <dgm:pt modelId="{0EB052A6-09EB-45AB-B0E4-CEBC1A2128A0}" type="pres">
      <dgm:prSet presAssocID="{C7E027C1-25AA-450B-9100-159F06C33048}" presName="compNode" presStyleCnt="0"/>
      <dgm:spPr/>
    </dgm:pt>
    <dgm:pt modelId="{5CB51187-4DA8-495C-9E8A-35B2283AA8D2}" type="pres">
      <dgm:prSet presAssocID="{C7E027C1-25AA-450B-9100-159F06C33048}" presName="bgRect" presStyleLbl="bgShp" presStyleIdx="4" presStyleCnt="7"/>
      <dgm:spPr/>
    </dgm:pt>
    <dgm:pt modelId="{7E54C969-ECA1-4485-A22D-ECFAF9377669}" type="pres">
      <dgm:prSet presAssocID="{C7E027C1-25AA-450B-9100-159F06C33048}" presName="iconRect" presStyleLbl="node1" presStyleIdx="4" presStyleCnt="7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topwatch"/>
        </a:ext>
      </dgm:extLst>
    </dgm:pt>
    <dgm:pt modelId="{47D5123C-A34A-4A63-9425-3B1A7F9D1364}" type="pres">
      <dgm:prSet presAssocID="{C7E027C1-25AA-450B-9100-159F06C33048}" presName="spaceRect" presStyleCnt="0"/>
      <dgm:spPr/>
    </dgm:pt>
    <dgm:pt modelId="{0383A7DF-484D-4502-A1B8-9BA5CDC478DF}" type="pres">
      <dgm:prSet presAssocID="{C7E027C1-25AA-450B-9100-159F06C33048}" presName="parTx" presStyleLbl="revTx" presStyleIdx="4" presStyleCnt="7">
        <dgm:presLayoutVars>
          <dgm:chMax val="0"/>
          <dgm:chPref val="0"/>
        </dgm:presLayoutVars>
      </dgm:prSet>
      <dgm:spPr/>
    </dgm:pt>
    <dgm:pt modelId="{D5DCFEAD-CF1A-4610-B015-A99F15409AF8}" type="pres">
      <dgm:prSet presAssocID="{A03CD4A2-0E76-437E-9018-79C36218C3DE}" presName="sibTrans" presStyleCnt="0"/>
      <dgm:spPr/>
    </dgm:pt>
    <dgm:pt modelId="{20AE66B3-2C6E-41CE-BACF-14AE115E1672}" type="pres">
      <dgm:prSet presAssocID="{6D0F9617-CEA1-4EDB-B4C6-01C28B7FDAD9}" presName="compNode" presStyleCnt="0"/>
      <dgm:spPr/>
    </dgm:pt>
    <dgm:pt modelId="{0A8FA46D-45DC-4BED-B36A-C1519B9C38FF}" type="pres">
      <dgm:prSet presAssocID="{6D0F9617-CEA1-4EDB-B4C6-01C28B7FDAD9}" presName="bgRect" presStyleLbl="bgShp" presStyleIdx="5" presStyleCnt="7"/>
      <dgm:spPr/>
    </dgm:pt>
    <dgm:pt modelId="{8831A547-3107-4BDC-A4C4-C0D728EFA951}" type="pres">
      <dgm:prSet presAssocID="{6D0F9617-CEA1-4EDB-B4C6-01C28B7FDAD9}" presName="iconRect" presStyleLbl="node1" presStyleIdx="5" presStyleCnt="7"/>
      <dgm:spPr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ocument"/>
        </a:ext>
      </dgm:extLst>
    </dgm:pt>
    <dgm:pt modelId="{95F5AA40-A497-4473-B448-8DBDEF9543B2}" type="pres">
      <dgm:prSet presAssocID="{6D0F9617-CEA1-4EDB-B4C6-01C28B7FDAD9}" presName="spaceRect" presStyleCnt="0"/>
      <dgm:spPr/>
    </dgm:pt>
    <dgm:pt modelId="{114EA7DF-71EB-4661-973E-4DAC5B14228F}" type="pres">
      <dgm:prSet presAssocID="{6D0F9617-CEA1-4EDB-B4C6-01C28B7FDAD9}" presName="parTx" presStyleLbl="revTx" presStyleIdx="5" presStyleCnt="7">
        <dgm:presLayoutVars>
          <dgm:chMax val="0"/>
          <dgm:chPref val="0"/>
        </dgm:presLayoutVars>
      </dgm:prSet>
      <dgm:spPr/>
    </dgm:pt>
    <dgm:pt modelId="{7E34019F-9FF1-4AD3-90F1-CDAE6BAE9952}" type="pres">
      <dgm:prSet presAssocID="{9AAEFBE6-10D0-462B-9D9B-4BA6A137F0AF}" presName="sibTrans" presStyleCnt="0"/>
      <dgm:spPr/>
    </dgm:pt>
    <dgm:pt modelId="{6E6FB35C-4352-4C6F-BC8A-779BC36489E1}" type="pres">
      <dgm:prSet presAssocID="{D2D9C0DC-3FA2-49EE-8FB2-634019CC4959}" presName="compNode" presStyleCnt="0"/>
      <dgm:spPr/>
    </dgm:pt>
    <dgm:pt modelId="{5A8A109C-48AA-43DD-AF20-FD718C99E07B}" type="pres">
      <dgm:prSet presAssocID="{D2D9C0DC-3FA2-49EE-8FB2-634019CC4959}" presName="bgRect" presStyleLbl="bgShp" presStyleIdx="6" presStyleCnt="7"/>
      <dgm:spPr/>
    </dgm:pt>
    <dgm:pt modelId="{E0595394-8785-44A9-A5F6-4376091B465D}" type="pres">
      <dgm:prSet presAssocID="{D2D9C0DC-3FA2-49EE-8FB2-634019CC4959}" presName="iconRect" presStyleLbl="node1" presStyleIdx="6" presStyleCnt="7"/>
      <dgm:spPr>
        <a:blipFill>
          <a:blip xmlns:r="http://schemas.openxmlformats.org/officeDocument/2006/relationships"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cales of Justice"/>
        </a:ext>
      </dgm:extLst>
    </dgm:pt>
    <dgm:pt modelId="{E577ACE4-8BB4-4AB4-8557-E3C346184BE9}" type="pres">
      <dgm:prSet presAssocID="{D2D9C0DC-3FA2-49EE-8FB2-634019CC4959}" presName="spaceRect" presStyleCnt="0"/>
      <dgm:spPr/>
    </dgm:pt>
    <dgm:pt modelId="{3B18D0DD-C851-43D6-BF7D-C72B4A693062}" type="pres">
      <dgm:prSet presAssocID="{D2D9C0DC-3FA2-49EE-8FB2-634019CC4959}" presName="parTx" presStyleLbl="revTx" presStyleIdx="6" presStyleCnt="7">
        <dgm:presLayoutVars>
          <dgm:chMax val="0"/>
          <dgm:chPref val="0"/>
        </dgm:presLayoutVars>
      </dgm:prSet>
      <dgm:spPr/>
    </dgm:pt>
  </dgm:ptLst>
  <dgm:cxnLst>
    <dgm:cxn modelId="{39ADE21C-A43D-45D7-B1B7-641AF7DE0F23}" type="presOf" srcId="{2CFCCDEC-A55F-4321-AECA-7AA626724C7D}" destId="{E998BADA-B72D-4AE7-9438-E1D08A809484}" srcOrd="0" destOrd="0" presId="urn:microsoft.com/office/officeart/2018/2/layout/IconVerticalSolidList"/>
    <dgm:cxn modelId="{079A332D-6126-46FE-93DB-4A671D176D36}" srcId="{A20C4F28-6B35-41DA-B7F4-3DDD8DB119FB}" destId="{B9F21580-CD2B-4765-A568-715F5CFAA9A2}" srcOrd="1" destOrd="0" parTransId="{82D969E2-D7ED-4C91-BDB2-EB0F4EB36478}" sibTransId="{CCDAC923-4E66-4CA6-A71F-08F75872306A}"/>
    <dgm:cxn modelId="{0CAA2649-F5A9-467A-BAB1-C9FF3B569216}" srcId="{A20C4F28-6B35-41DA-B7F4-3DDD8DB119FB}" destId="{2CFCCDEC-A55F-4321-AECA-7AA626724C7D}" srcOrd="0" destOrd="0" parTransId="{5C478992-2BA0-442E-A7DC-933A52948AC5}" sibTransId="{9350BBE1-9472-4E47-8543-5FD671697018}"/>
    <dgm:cxn modelId="{AB44F04C-1B22-4AA9-8432-83304EEC1895}" srcId="{A20C4F28-6B35-41DA-B7F4-3DDD8DB119FB}" destId="{D2D9C0DC-3FA2-49EE-8FB2-634019CC4959}" srcOrd="6" destOrd="0" parTransId="{7E4AB9EF-AA84-485F-91AA-61FC4DC23AA7}" sibTransId="{4F45AF83-C7B5-41EF-A1E7-CDC9499FA05B}"/>
    <dgm:cxn modelId="{05E0A74D-574D-4A49-B158-6E2D6D71A23D}" srcId="{A20C4F28-6B35-41DA-B7F4-3DDD8DB119FB}" destId="{7C0BA065-68A7-4BA8-BA9B-971E7D7AC869}" srcOrd="2" destOrd="0" parTransId="{8D4D8F5A-8F61-4C7F-BEC9-29D50D74CC69}" sibTransId="{A955D91A-7780-4B29-AD74-08E2CE573B2C}"/>
    <dgm:cxn modelId="{CA47FA75-6009-47E4-833C-03FB7AB7251F}" type="presOf" srcId="{D2D9C0DC-3FA2-49EE-8FB2-634019CC4959}" destId="{3B18D0DD-C851-43D6-BF7D-C72B4A693062}" srcOrd="0" destOrd="0" presId="urn:microsoft.com/office/officeart/2018/2/layout/IconVerticalSolidList"/>
    <dgm:cxn modelId="{D9E6FE8E-250A-4B5C-8F4E-25ADF9E102F4}" srcId="{A20C4F28-6B35-41DA-B7F4-3DDD8DB119FB}" destId="{6D0F9617-CEA1-4EDB-B4C6-01C28B7FDAD9}" srcOrd="5" destOrd="0" parTransId="{4C801411-4571-4E2F-8D49-DE036C8E62EC}" sibTransId="{9AAEFBE6-10D0-462B-9D9B-4BA6A137F0AF}"/>
    <dgm:cxn modelId="{DC554D9F-4031-4574-812E-7049410AEE14}" srcId="{A20C4F28-6B35-41DA-B7F4-3DDD8DB119FB}" destId="{57B42A7C-CEA2-4A49-B065-E91AFEEC15E1}" srcOrd="3" destOrd="0" parTransId="{ACCD2A2C-C8DB-41D7-A4CC-9D7446777134}" sibTransId="{275F6830-ACA3-49FA-84BF-B9A8E991223F}"/>
    <dgm:cxn modelId="{179704A7-660C-4223-952D-3CC43B984386}" type="presOf" srcId="{C7E027C1-25AA-450B-9100-159F06C33048}" destId="{0383A7DF-484D-4502-A1B8-9BA5CDC478DF}" srcOrd="0" destOrd="0" presId="urn:microsoft.com/office/officeart/2018/2/layout/IconVerticalSolidList"/>
    <dgm:cxn modelId="{C15420AA-936C-4A42-ADA1-86E6B38B8F55}" type="presOf" srcId="{57B42A7C-CEA2-4A49-B065-E91AFEEC15E1}" destId="{998C069F-BACE-4DF0-9D7D-9144EB860054}" srcOrd="0" destOrd="0" presId="urn:microsoft.com/office/officeart/2018/2/layout/IconVerticalSolidList"/>
    <dgm:cxn modelId="{36A962BB-E507-4D38-BAD4-B5BAB917796D}" srcId="{A20C4F28-6B35-41DA-B7F4-3DDD8DB119FB}" destId="{C7E027C1-25AA-450B-9100-159F06C33048}" srcOrd="4" destOrd="0" parTransId="{AC4B1705-C7B2-4785-AC97-C9C889372022}" sibTransId="{A03CD4A2-0E76-437E-9018-79C36218C3DE}"/>
    <dgm:cxn modelId="{11A197C9-0C4F-443E-9CC8-A91BD7C09B8E}" type="presOf" srcId="{6D0F9617-CEA1-4EDB-B4C6-01C28B7FDAD9}" destId="{114EA7DF-71EB-4661-973E-4DAC5B14228F}" srcOrd="0" destOrd="0" presId="urn:microsoft.com/office/officeart/2018/2/layout/IconVerticalSolidList"/>
    <dgm:cxn modelId="{B776C9CD-CCB0-403E-94A0-AFADE2FD194F}" type="presOf" srcId="{7C0BA065-68A7-4BA8-BA9B-971E7D7AC869}" destId="{1C6DCEFA-072F-4EBE-8DC5-77F8248D9945}" srcOrd="0" destOrd="0" presId="urn:microsoft.com/office/officeart/2018/2/layout/IconVerticalSolidList"/>
    <dgm:cxn modelId="{43EC8DE4-2F4A-4DEA-961C-1E3B94B51DB2}" type="presOf" srcId="{B9F21580-CD2B-4765-A568-715F5CFAA9A2}" destId="{9ED7C835-98BA-4498-B302-32A2B641536E}" srcOrd="0" destOrd="0" presId="urn:microsoft.com/office/officeart/2018/2/layout/IconVerticalSolidList"/>
    <dgm:cxn modelId="{5115A6F0-3F64-44A7-A038-5A424991DC53}" type="presOf" srcId="{A20C4F28-6B35-41DA-B7F4-3DDD8DB119FB}" destId="{24000583-F26B-4CFA-8F5C-D26AECCE74D5}" srcOrd="0" destOrd="0" presId="urn:microsoft.com/office/officeart/2018/2/layout/IconVerticalSolidList"/>
    <dgm:cxn modelId="{D8ABF4FA-E36D-4037-88C0-2F897AFBB36B}" type="presParOf" srcId="{24000583-F26B-4CFA-8F5C-D26AECCE74D5}" destId="{4C2CDF12-41D1-4687-9178-D4D3CA4834D6}" srcOrd="0" destOrd="0" presId="urn:microsoft.com/office/officeart/2018/2/layout/IconVerticalSolidList"/>
    <dgm:cxn modelId="{A76B2B2A-217F-4563-B4F7-CD8C86C26050}" type="presParOf" srcId="{4C2CDF12-41D1-4687-9178-D4D3CA4834D6}" destId="{088B3058-007E-42C9-970E-03E15849516C}" srcOrd="0" destOrd="0" presId="urn:microsoft.com/office/officeart/2018/2/layout/IconVerticalSolidList"/>
    <dgm:cxn modelId="{90DD5DDA-32EC-471E-B94F-BBCFAF59E089}" type="presParOf" srcId="{4C2CDF12-41D1-4687-9178-D4D3CA4834D6}" destId="{BBCE9855-A625-428E-AB67-11A147F0A907}" srcOrd="1" destOrd="0" presId="urn:microsoft.com/office/officeart/2018/2/layout/IconVerticalSolidList"/>
    <dgm:cxn modelId="{E6AB0328-BD41-4809-82B7-722C26FD3DF7}" type="presParOf" srcId="{4C2CDF12-41D1-4687-9178-D4D3CA4834D6}" destId="{E3743030-6E99-449F-95A5-5A0C64048A4F}" srcOrd="2" destOrd="0" presId="urn:microsoft.com/office/officeart/2018/2/layout/IconVerticalSolidList"/>
    <dgm:cxn modelId="{924FBC15-52FE-4A2E-8D8A-3A93C6F3223D}" type="presParOf" srcId="{4C2CDF12-41D1-4687-9178-D4D3CA4834D6}" destId="{E998BADA-B72D-4AE7-9438-E1D08A809484}" srcOrd="3" destOrd="0" presId="urn:microsoft.com/office/officeart/2018/2/layout/IconVerticalSolidList"/>
    <dgm:cxn modelId="{AD824140-F5C7-453C-A0EF-79C842DF4C52}" type="presParOf" srcId="{24000583-F26B-4CFA-8F5C-D26AECCE74D5}" destId="{A199C67F-935E-4DB9-A8CA-A8C09C912D1D}" srcOrd="1" destOrd="0" presId="urn:microsoft.com/office/officeart/2018/2/layout/IconVerticalSolidList"/>
    <dgm:cxn modelId="{B935ED7F-9D4E-4388-8ABE-AD7A12492660}" type="presParOf" srcId="{24000583-F26B-4CFA-8F5C-D26AECCE74D5}" destId="{B88813C7-A6DB-400F-911B-E733FABEF39B}" srcOrd="2" destOrd="0" presId="urn:microsoft.com/office/officeart/2018/2/layout/IconVerticalSolidList"/>
    <dgm:cxn modelId="{95BA6F7A-B486-4566-BD0A-EECF580026F1}" type="presParOf" srcId="{B88813C7-A6DB-400F-911B-E733FABEF39B}" destId="{2AB76764-6CE0-4FDB-A902-61DBF2074212}" srcOrd="0" destOrd="0" presId="urn:microsoft.com/office/officeart/2018/2/layout/IconVerticalSolidList"/>
    <dgm:cxn modelId="{D6317C25-B081-438B-B2D9-F8E60F8ABFEB}" type="presParOf" srcId="{B88813C7-A6DB-400F-911B-E733FABEF39B}" destId="{84B53168-70D0-478F-93D9-4FDB49EE9D73}" srcOrd="1" destOrd="0" presId="urn:microsoft.com/office/officeart/2018/2/layout/IconVerticalSolidList"/>
    <dgm:cxn modelId="{697E7F32-0153-4300-9328-062305A2D131}" type="presParOf" srcId="{B88813C7-A6DB-400F-911B-E733FABEF39B}" destId="{F3907A56-DD4B-4E9C-9D15-8481EE7E290C}" srcOrd="2" destOrd="0" presId="urn:microsoft.com/office/officeart/2018/2/layout/IconVerticalSolidList"/>
    <dgm:cxn modelId="{DE36D182-F5C4-4DA5-82B6-844B1D818D78}" type="presParOf" srcId="{B88813C7-A6DB-400F-911B-E733FABEF39B}" destId="{9ED7C835-98BA-4498-B302-32A2B641536E}" srcOrd="3" destOrd="0" presId="urn:microsoft.com/office/officeart/2018/2/layout/IconVerticalSolidList"/>
    <dgm:cxn modelId="{2526CAAC-D6EB-467F-9C79-8E70F2B7CD01}" type="presParOf" srcId="{24000583-F26B-4CFA-8F5C-D26AECCE74D5}" destId="{71C5EB71-D3F5-46E5-82F9-59E1AA88E41A}" srcOrd="3" destOrd="0" presId="urn:microsoft.com/office/officeart/2018/2/layout/IconVerticalSolidList"/>
    <dgm:cxn modelId="{B620B6C8-5896-4B8C-A5C0-200E146F0626}" type="presParOf" srcId="{24000583-F26B-4CFA-8F5C-D26AECCE74D5}" destId="{755A985A-C3C4-4FC9-8797-EA9AB4F4241D}" srcOrd="4" destOrd="0" presId="urn:microsoft.com/office/officeart/2018/2/layout/IconVerticalSolidList"/>
    <dgm:cxn modelId="{36C46BDB-8C2B-4395-9A8E-952BB6BF090D}" type="presParOf" srcId="{755A985A-C3C4-4FC9-8797-EA9AB4F4241D}" destId="{018E4AD8-D7F0-4A2E-8252-808DEF89C969}" srcOrd="0" destOrd="0" presId="urn:microsoft.com/office/officeart/2018/2/layout/IconVerticalSolidList"/>
    <dgm:cxn modelId="{FA69B8D0-41E9-4869-9EDA-A172334FD032}" type="presParOf" srcId="{755A985A-C3C4-4FC9-8797-EA9AB4F4241D}" destId="{129D279B-B4F6-4975-9B91-61FD4329857C}" srcOrd="1" destOrd="0" presId="urn:microsoft.com/office/officeart/2018/2/layout/IconVerticalSolidList"/>
    <dgm:cxn modelId="{B9B7775F-F661-4F36-8290-698483028EA2}" type="presParOf" srcId="{755A985A-C3C4-4FC9-8797-EA9AB4F4241D}" destId="{64F94E60-3CFC-43D8-9817-91FCBA019DEF}" srcOrd="2" destOrd="0" presId="urn:microsoft.com/office/officeart/2018/2/layout/IconVerticalSolidList"/>
    <dgm:cxn modelId="{51CBCC4B-1418-41F0-8C64-8AA5CB3E1BC3}" type="presParOf" srcId="{755A985A-C3C4-4FC9-8797-EA9AB4F4241D}" destId="{1C6DCEFA-072F-4EBE-8DC5-77F8248D9945}" srcOrd="3" destOrd="0" presId="urn:microsoft.com/office/officeart/2018/2/layout/IconVerticalSolidList"/>
    <dgm:cxn modelId="{B4F082B2-83BD-426F-8E21-822CAFC19122}" type="presParOf" srcId="{24000583-F26B-4CFA-8F5C-D26AECCE74D5}" destId="{6207E6A2-287A-4FEA-AD8D-88688E42F98E}" srcOrd="5" destOrd="0" presId="urn:microsoft.com/office/officeart/2018/2/layout/IconVerticalSolidList"/>
    <dgm:cxn modelId="{9F3BBADA-26DE-4FB5-9284-A8221E2945CE}" type="presParOf" srcId="{24000583-F26B-4CFA-8F5C-D26AECCE74D5}" destId="{EAA5D9A0-828F-428E-9515-C224A700637E}" srcOrd="6" destOrd="0" presId="urn:microsoft.com/office/officeart/2018/2/layout/IconVerticalSolidList"/>
    <dgm:cxn modelId="{70C1E237-2AB5-49E8-84EF-583409B31063}" type="presParOf" srcId="{EAA5D9A0-828F-428E-9515-C224A700637E}" destId="{DB08AE8C-5BF4-4DE8-B0A5-41A41C3071B1}" srcOrd="0" destOrd="0" presId="urn:microsoft.com/office/officeart/2018/2/layout/IconVerticalSolidList"/>
    <dgm:cxn modelId="{B5F21E27-AC44-463B-8613-D4D638068297}" type="presParOf" srcId="{EAA5D9A0-828F-428E-9515-C224A700637E}" destId="{FB3C9E56-A332-4B3C-A185-81A385390DF5}" srcOrd="1" destOrd="0" presId="urn:microsoft.com/office/officeart/2018/2/layout/IconVerticalSolidList"/>
    <dgm:cxn modelId="{75D9DA10-7468-4033-8A8A-DBB8E113F238}" type="presParOf" srcId="{EAA5D9A0-828F-428E-9515-C224A700637E}" destId="{7CEC58A2-61CD-4142-A6B6-439DF4AEAE88}" srcOrd="2" destOrd="0" presId="urn:microsoft.com/office/officeart/2018/2/layout/IconVerticalSolidList"/>
    <dgm:cxn modelId="{AE296A1A-3871-441D-AC0F-972668CA8CDA}" type="presParOf" srcId="{EAA5D9A0-828F-428E-9515-C224A700637E}" destId="{998C069F-BACE-4DF0-9D7D-9144EB860054}" srcOrd="3" destOrd="0" presId="urn:microsoft.com/office/officeart/2018/2/layout/IconVerticalSolidList"/>
    <dgm:cxn modelId="{6DECE5A4-D27C-4A08-B322-4B79A6DB6C86}" type="presParOf" srcId="{24000583-F26B-4CFA-8F5C-D26AECCE74D5}" destId="{483588DF-B1D1-47BE-8BC1-3FE3BF281CBF}" srcOrd="7" destOrd="0" presId="urn:microsoft.com/office/officeart/2018/2/layout/IconVerticalSolidList"/>
    <dgm:cxn modelId="{25CBF886-869B-4614-A4B9-3DCBFF15B887}" type="presParOf" srcId="{24000583-F26B-4CFA-8F5C-D26AECCE74D5}" destId="{0EB052A6-09EB-45AB-B0E4-CEBC1A2128A0}" srcOrd="8" destOrd="0" presId="urn:microsoft.com/office/officeart/2018/2/layout/IconVerticalSolidList"/>
    <dgm:cxn modelId="{31306748-96EF-4C01-8C53-0B6E48081061}" type="presParOf" srcId="{0EB052A6-09EB-45AB-B0E4-CEBC1A2128A0}" destId="{5CB51187-4DA8-495C-9E8A-35B2283AA8D2}" srcOrd="0" destOrd="0" presId="urn:microsoft.com/office/officeart/2018/2/layout/IconVerticalSolidList"/>
    <dgm:cxn modelId="{29C86A3C-3022-405E-AB95-E8783213807A}" type="presParOf" srcId="{0EB052A6-09EB-45AB-B0E4-CEBC1A2128A0}" destId="{7E54C969-ECA1-4485-A22D-ECFAF9377669}" srcOrd="1" destOrd="0" presId="urn:microsoft.com/office/officeart/2018/2/layout/IconVerticalSolidList"/>
    <dgm:cxn modelId="{914B0C9F-7628-4D06-824E-9E0B9199AC54}" type="presParOf" srcId="{0EB052A6-09EB-45AB-B0E4-CEBC1A2128A0}" destId="{47D5123C-A34A-4A63-9425-3B1A7F9D1364}" srcOrd="2" destOrd="0" presId="urn:microsoft.com/office/officeart/2018/2/layout/IconVerticalSolidList"/>
    <dgm:cxn modelId="{8B901A7A-D2B6-4FCC-89E7-6E052107267A}" type="presParOf" srcId="{0EB052A6-09EB-45AB-B0E4-CEBC1A2128A0}" destId="{0383A7DF-484D-4502-A1B8-9BA5CDC478DF}" srcOrd="3" destOrd="0" presId="urn:microsoft.com/office/officeart/2018/2/layout/IconVerticalSolidList"/>
    <dgm:cxn modelId="{5C3650D0-333F-4C89-A290-15E18D0BE6D3}" type="presParOf" srcId="{24000583-F26B-4CFA-8F5C-D26AECCE74D5}" destId="{D5DCFEAD-CF1A-4610-B015-A99F15409AF8}" srcOrd="9" destOrd="0" presId="urn:microsoft.com/office/officeart/2018/2/layout/IconVerticalSolidList"/>
    <dgm:cxn modelId="{67E9CE5F-6774-4DAA-85C9-16D2DCBC565E}" type="presParOf" srcId="{24000583-F26B-4CFA-8F5C-D26AECCE74D5}" destId="{20AE66B3-2C6E-41CE-BACF-14AE115E1672}" srcOrd="10" destOrd="0" presId="urn:microsoft.com/office/officeart/2018/2/layout/IconVerticalSolidList"/>
    <dgm:cxn modelId="{50E89B73-B370-4A60-A591-602D627DF02E}" type="presParOf" srcId="{20AE66B3-2C6E-41CE-BACF-14AE115E1672}" destId="{0A8FA46D-45DC-4BED-B36A-C1519B9C38FF}" srcOrd="0" destOrd="0" presId="urn:microsoft.com/office/officeart/2018/2/layout/IconVerticalSolidList"/>
    <dgm:cxn modelId="{2D16C072-B88E-41C0-9176-B6625D0D2CA6}" type="presParOf" srcId="{20AE66B3-2C6E-41CE-BACF-14AE115E1672}" destId="{8831A547-3107-4BDC-A4C4-C0D728EFA951}" srcOrd="1" destOrd="0" presId="urn:microsoft.com/office/officeart/2018/2/layout/IconVerticalSolidList"/>
    <dgm:cxn modelId="{79EC6577-D7C3-4E03-8B8C-D8B1E783BD68}" type="presParOf" srcId="{20AE66B3-2C6E-41CE-BACF-14AE115E1672}" destId="{95F5AA40-A497-4473-B448-8DBDEF9543B2}" srcOrd="2" destOrd="0" presId="urn:microsoft.com/office/officeart/2018/2/layout/IconVerticalSolidList"/>
    <dgm:cxn modelId="{71C199BD-B910-4D5B-8ACD-A6FA05B12A2B}" type="presParOf" srcId="{20AE66B3-2C6E-41CE-BACF-14AE115E1672}" destId="{114EA7DF-71EB-4661-973E-4DAC5B14228F}" srcOrd="3" destOrd="0" presId="urn:microsoft.com/office/officeart/2018/2/layout/IconVerticalSolidList"/>
    <dgm:cxn modelId="{169CE2E1-FFE0-4534-91F9-64EC6DC5BCE9}" type="presParOf" srcId="{24000583-F26B-4CFA-8F5C-D26AECCE74D5}" destId="{7E34019F-9FF1-4AD3-90F1-CDAE6BAE9952}" srcOrd="11" destOrd="0" presId="urn:microsoft.com/office/officeart/2018/2/layout/IconVerticalSolidList"/>
    <dgm:cxn modelId="{EB0441F2-AFDD-440C-B180-406EB44A5D4D}" type="presParOf" srcId="{24000583-F26B-4CFA-8F5C-D26AECCE74D5}" destId="{6E6FB35C-4352-4C6F-BC8A-779BC36489E1}" srcOrd="12" destOrd="0" presId="urn:microsoft.com/office/officeart/2018/2/layout/IconVerticalSolidList"/>
    <dgm:cxn modelId="{0D10A9DD-F6B9-4907-8BCC-663AD36B04F6}" type="presParOf" srcId="{6E6FB35C-4352-4C6F-BC8A-779BC36489E1}" destId="{5A8A109C-48AA-43DD-AF20-FD718C99E07B}" srcOrd="0" destOrd="0" presId="urn:microsoft.com/office/officeart/2018/2/layout/IconVerticalSolidList"/>
    <dgm:cxn modelId="{8D79933B-9B3C-41B3-9C64-E066D3251741}" type="presParOf" srcId="{6E6FB35C-4352-4C6F-BC8A-779BC36489E1}" destId="{E0595394-8785-44A9-A5F6-4376091B465D}" srcOrd="1" destOrd="0" presId="urn:microsoft.com/office/officeart/2018/2/layout/IconVerticalSolidList"/>
    <dgm:cxn modelId="{BB147943-0383-428A-9065-23410EBF3733}" type="presParOf" srcId="{6E6FB35C-4352-4C6F-BC8A-779BC36489E1}" destId="{E577ACE4-8BB4-4AB4-8557-E3C346184BE9}" srcOrd="2" destOrd="0" presId="urn:microsoft.com/office/officeart/2018/2/layout/IconVerticalSolidList"/>
    <dgm:cxn modelId="{3DC3BE29-6630-4D08-9CAE-E8C9A05184B4}" type="presParOf" srcId="{6E6FB35C-4352-4C6F-BC8A-779BC36489E1}" destId="{3B18D0DD-C851-43D6-BF7D-C72B4A693062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91C1984-0A35-4C02-B3F0-AC479F3FD62F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32DE73B-4702-4F66-AF86-EE8A592CF63C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Data Scientists monitor feature drift and model accuracy in real time to maintain model performance.</a:t>
          </a:r>
        </a:p>
      </dgm:t>
    </dgm:pt>
    <dgm:pt modelId="{B4F58785-0DA6-4EA4-9B2A-2F4C44361B6D}" type="parTrans" cxnId="{C18D3979-2555-49F0-A386-617CF6498ED9}">
      <dgm:prSet/>
      <dgm:spPr/>
      <dgm:t>
        <a:bodyPr/>
        <a:lstStyle/>
        <a:p>
          <a:endParaRPr lang="en-US"/>
        </a:p>
      </dgm:t>
    </dgm:pt>
    <dgm:pt modelId="{3FAF48C2-0627-4336-8548-F895C56080FF}" type="sibTrans" cxnId="{C18D3979-2555-49F0-A386-617CF6498ED9}">
      <dgm:prSet/>
      <dgm:spPr/>
      <dgm:t>
        <a:bodyPr/>
        <a:lstStyle/>
        <a:p>
          <a:endParaRPr lang="en-US"/>
        </a:p>
      </dgm:t>
    </dgm:pt>
    <dgm:pt modelId="{6DCD20C4-4C2A-46BF-8325-897914D96118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MLOps Engineers automate retraining triggers and build governance dashboards for streamlined model management.</a:t>
          </a:r>
        </a:p>
      </dgm:t>
    </dgm:pt>
    <dgm:pt modelId="{3D927AD0-6E05-4C99-8AF6-3B18E3AD1CF6}" type="parTrans" cxnId="{FCB0AD71-69C9-4FB7-9AEE-617D12BA2EBB}">
      <dgm:prSet/>
      <dgm:spPr/>
      <dgm:t>
        <a:bodyPr/>
        <a:lstStyle/>
        <a:p>
          <a:endParaRPr lang="en-US"/>
        </a:p>
      </dgm:t>
    </dgm:pt>
    <dgm:pt modelId="{D491FD6A-B76E-4DC4-836D-134B83E84098}" type="sibTrans" cxnId="{FCB0AD71-69C9-4FB7-9AEE-617D12BA2EBB}">
      <dgm:prSet/>
      <dgm:spPr/>
      <dgm:t>
        <a:bodyPr/>
        <a:lstStyle/>
        <a:p>
          <a:endParaRPr lang="en-US"/>
        </a:p>
      </dgm:t>
    </dgm:pt>
    <dgm:pt modelId="{2CA92949-3CC7-4C5E-B866-A66B47F6C183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Data Engineers ensure pipeline data quality and reliability, validating inputs for robust ML workflows.</a:t>
          </a:r>
        </a:p>
      </dgm:t>
    </dgm:pt>
    <dgm:pt modelId="{8BC2A555-D964-4149-8D27-2CC3BCC6CE27}" type="parTrans" cxnId="{9D696633-E6B1-47F0-8EA6-37B9CBF0AE56}">
      <dgm:prSet/>
      <dgm:spPr/>
      <dgm:t>
        <a:bodyPr/>
        <a:lstStyle/>
        <a:p>
          <a:endParaRPr lang="en-US"/>
        </a:p>
      </dgm:t>
    </dgm:pt>
    <dgm:pt modelId="{7F159EFE-F9DF-4C02-91F6-5562A92C5062}" type="sibTrans" cxnId="{9D696633-E6B1-47F0-8EA6-37B9CBF0AE56}">
      <dgm:prSet/>
      <dgm:spPr/>
      <dgm:t>
        <a:bodyPr/>
        <a:lstStyle/>
        <a:p>
          <a:endParaRPr lang="en-US"/>
        </a:p>
      </dgm:t>
    </dgm:pt>
    <dgm:pt modelId="{E3504666-FAE7-4052-BCEF-0BE219CA4541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Business Analysts translate monitoring results into actionable insights linked to KPIs and business goals.</a:t>
          </a:r>
        </a:p>
      </dgm:t>
    </dgm:pt>
    <dgm:pt modelId="{8F4A6479-77AC-4EE2-8FA5-6717FC864567}" type="parTrans" cxnId="{F9D22A80-6674-44B5-BF97-E084D8C8631C}">
      <dgm:prSet/>
      <dgm:spPr/>
      <dgm:t>
        <a:bodyPr/>
        <a:lstStyle/>
        <a:p>
          <a:endParaRPr lang="en-US"/>
        </a:p>
      </dgm:t>
    </dgm:pt>
    <dgm:pt modelId="{D054DB55-C567-4354-A576-762578A0E4FC}" type="sibTrans" cxnId="{F9D22A80-6674-44B5-BF97-E084D8C8631C}">
      <dgm:prSet/>
      <dgm:spPr/>
      <dgm:t>
        <a:bodyPr/>
        <a:lstStyle/>
        <a:p>
          <a:endParaRPr lang="en-US"/>
        </a:p>
      </dgm:t>
    </dgm:pt>
    <dgm:pt modelId="{B8C795CB-353B-445A-BC4D-0737DA410961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Compliance Teams verify auditability, fairness, and regulatory documentation to maintain ethical standards.</a:t>
          </a:r>
        </a:p>
      </dgm:t>
    </dgm:pt>
    <dgm:pt modelId="{F73D935D-4C83-4D7E-8F92-D0D6B8CCABAB}" type="parTrans" cxnId="{36149C22-B96A-42D0-8610-83BB363B4389}">
      <dgm:prSet/>
      <dgm:spPr/>
      <dgm:t>
        <a:bodyPr/>
        <a:lstStyle/>
        <a:p>
          <a:endParaRPr lang="en-US"/>
        </a:p>
      </dgm:t>
    </dgm:pt>
    <dgm:pt modelId="{0E162ACB-7806-4773-B6E2-81AC1E334DCB}" type="sibTrans" cxnId="{36149C22-B96A-42D0-8610-83BB363B4389}">
      <dgm:prSet/>
      <dgm:spPr/>
      <dgm:t>
        <a:bodyPr/>
        <a:lstStyle/>
        <a:p>
          <a:endParaRPr lang="en-US"/>
        </a:p>
      </dgm:t>
    </dgm:pt>
    <dgm:pt modelId="{9D8BDCEA-929D-4C0C-A763-856A0AEF530A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This cross-functional targeting fosters collaboration and shared responsibility for sustained ML system health.</a:t>
          </a:r>
        </a:p>
      </dgm:t>
    </dgm:pt>
    <dgm:pt modelId="{6FABCCF5-CEEA-40CB-8C19-CC233CB71521}" type="parTrans" cxnId="{BD0E4FC2-F7FC-4EC4-BF8F-609667989543}">
      <dgm:prSet/>
      <dgm:spPr/>
      <dgm:t>
        <a:bodyPr/>
        <a:lstStyle/>
        <a:p>
          <a:endParaRPr lang="en-US"/>
        </a:p>
      </dgm:t>
    </dgm:pt>
    <dgm:pt modelId="{A4B01161-E6AC-4EEA-ABAC-96F382DBDD8A}" type="sibTrans" cxnId="{BD0E4FC2-F7FC-4EC4-BF8F-609667989543}">
      <dgm:prSet/>
      <dgm:spPr/>
      <dgm:t>
        <a:bodyPr/>
        <a:lstStyle/>
        <a:p>
          <a:endParaRPr lang="en-US"/>
        </a:p>
      </dgm:t>
    </dgm:pt>
    <dgm:pt modelId="{916C0620-F115-4B78-A45C-6E14BD491F7D}" type="pres">
      <dgm:prSet presAssocID="{391C1984-0A35-4C02-B3F0-AC479F3FD62F}" presName="root" presStyleCnt="0">
        <dgm:presLayoutVars>
          <dgm:dir/>
          <dgm:resizeHandles val="exact"/>
        </dgm:presLayoutVars>
      </dgm:prSet>
      <dgm:spPr/>
    </dgm:pt>
    <dgm:pt modelId="{E472B5E2-9734-4367-A256-EBA5ED033F60}" type="pres">
      <dgm:prSet presAssocID="{F32DE73B-4702-4F66-AF86-EE8A592CF63C}" presName="compNode" presStyleCnt="0"/>
      <dgm:spPr/>
    </dgm:pt>
    <dgm:pt modelId="{62FB4B3D-289D-498C-82D4-D0DAABBB971D}" type="pres">
      <dgm:prSet presAssocID="{F32DE73B-4702-4F66-AF86-EE8A592CF63C}" presName="bgRect" presStyleLbl="bgShp" presStyleIdx="0" presStyleCnt="6"/>
      <dgm:spPr/>
    </dgm:pt>
    <dgm:pt modelId="{5C3384A9-3D45-4F89-91EC-282A154DB90D}" type="pres">
      <dgm:prSet presAssocID="{F32DE73B-4702-4F66-AF86-EE8A592CF63C}" presName="iconRect" presStyleLbl="node1" presStyleIdx="0" presStyleCnt="6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Gauge"/>
        </a:ext>
      </dgm:extLst>
    </dgm:pt>
    <dgm:pt modelId="{B2799859-F8FB-4EA9-A0ED-B3E7751AE07F}" type="pres">
      <dgm:prSet presAssocID="{F32DE73B-4702-4F66-AF86-EE8A592CF63C}" presName="spaceRect" presStyleCnt="0"/>
      <dgm:spPr/>
    </dgm:pt>
    <dgm:pt modelId="{AB04BAD5-A0CA-4CA3-AC4B-F67858696B1B}" type="pres">
      <dgm:prSet presAssocID="{F32DE73B-4702-4F66-AF86-EE8A592CF63C}" presName="parTx" presStyleLbl="revTx" presStyleIdx="0" presStyleCnt="6">
        <dgm:presLayoutVars>
          <dgm:chMax val="0"/>
          <dgm:chPref val="0"/>
        </dgm:presLayoutVars>
      </dgm:prSet>
      <dgm:spPr/>
    </dgm:pt>
    <dgm:pt modelId="{77270151-2AEC-4C9B-B40E-083940927920}" type="pres">
      <dgm:prSet presAssocID="{3FAF48C2-0627-4336-8548-F895C56080FF}" presName="sibTrans" presStyleCnt="0"/>
      <dgm:spPr/>
    </dgm:pt>
    <dgm:pt modelId="{1A0C3472-676D-41D0-A05E-245CBEE5F530}" type="pres">
      <dgm:prSet presAssocID="{6DCD20C4-4C2A-46BF-8325-897914D96118}" presName="compNode" presStyleCnt="0"/>
      <dgm:spPr/>
    </dgm:pt>
    <dgm:pt modelId="{A9F957DF-ADB9-4C65-BE0B-DD871E2D10B3}" type="pres">
      <dgm:prSet presAssocID="{6DCD20C4-4C2A-46BF-8325-897914D96118}" presName="bgRect" presStyleLbl="bgShp" presStyleIdx="1" presStyleCnt="6"/>
      <dgm:spPr/>
    </dgm:pt>
    <dgm:pt modelId="{B5F68E8B-D95C-49B6-9B2F-2EB981ADCFBA}" type="pres">
      <dgm:prSet presAssocID="{6DCD20C4-4C2A-46BF-8325-897914D96118}" presName="iconRect" presStyleLbl="node1" presStyleIdx="1" presStyleCnt="6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Gears"/>
        </a:ext>
      </dgm:extLst>
    </dgm:pt>
    <dgm:pt modelId="{FA6A359A-B23E-428D-B646-4A6BD638C75A}" type="pres">
      <dgm:prSet presAssocID="{6DCD20C4-4C2A-46BF-8325-897914D96118}" presName="spaceRect" presStyleCnt="0"/>
      <dgm:spPr/>
    </dgm:pt>
    <dgm:pt modelId="{183A542B-F7C2-46A6-BFA9-12921CFD7FA3}" type="pres">
      <dgm:prSet presAssocID="{6DCD20C4-4C2A-46BF-8325-897914D96118}" presName="parTx" presStyleLbl="revTx" presStyleIdx="1" presStyleCnt="6">
        <dgm:presLayoutVars>
          <dgm:chMax val="0"/>
          <dgm:chPref val="0"/>
        </dgm:presLayoutVars>
      </dgm:prSet>
      <dgm:spPr/>
    </dgm:pt>
    <dgm:pt modelId="{E5A69371-29B7-4039-8D6F-7169A91038E8}" type="pres">
      <dgm:prSet presAssocID="{D491FD6A-B76E-4DC4-836D-134B83E84098}" presName="sibTrans" presStyleCnt="0"/>
      <dgm:spPr/>
    </dgm:pt>
    <dgm:pt modelId="{57CF67F0-5FD3-4E55-81B8-AE841804A732}" type="pres">
      <dgm:prSet presAssocID="{2CA92949-3CC7-4C5E-B866-A66B47F6C183}" presName="compNode" presStyleCnt="0"/>
      <dgm:spPr/>
    </dgm:pt>
    <dgm:pt modelId="{D91E6550-C24B-4E6D-91F5-34A1653AF088}" type="pres">
      <dgm:prSet presAssocID="{2CA92949-3CC7-4C5E-B866-A66B47F6C183}" presName="bgRect" presStyleLbl="bgShp" presStyleIdx="2" presStyleCnt="6"/>
      <dgm:spPr/>
    </dgm:pt>
    <dgm:pt modelId="{ED1C20D1-86A5-47C7-96A9-1C3876E8CE4B}" type="pres">
      <dgm:prSet presAssocID="{2CA92949-3CC7-4C5E-B866-A66B47F6C183}" presName="iconRect" presStyleLbl="node1" presStyleIdx="2" presStyleCnt="6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atabase"/>
        </a:ext>
      </dgm:extLst>
    </dgm:pt>
    <dgm:pt modelId="{1E55ECD5-AC90-4E50-91C9-B414CB74FF25}" type="pres">
      <dgm:prSet presAssocID="{2CA92949-3CC7-4C5E-B866-A66B47F6C183}" presName="spaceRect" presStyleCnt="0"/>
      <dgm:spPr/>
    </dgm:pt>
    <dgm:pt modelId="{70E1CA13-4EA3-421A-B5FA-216EF420D834}" type="pres">
      <dgm:prSet presAssocID="{2CA92949-3CC7-4C5E-B866-A66B47F6C183}" presName="parTx" presStyleLbl="revTx" presStyleIdx="2" presStyleCnt="6">
        <dgm:presLayoutVars>
          <dgm:chMax val="0"/>
          <dgm:chPref val="0"/>
        </dgm:presLayoutVars>
      </dgm:prSet>
      <dgm:spPr/>
    </dgm:pt>
    <dgm:pt modelId="{A7DCE00D-3026-47E7-8A76-52934B7BCCD2}" type="pres">
      <dgm:prSet presAssocID="{7F159EFE-F9DF-4C02-91F6-5562A92C5062}" presName="sibTrans" presStyleCnt="0"/>
      <dgm:spPr/>
    </dgm:pt>
    <dgm:pt modelId="{E55A7442-042E-4202-B3AB-4AB3709971FE}" type="pres">
      <dgm:prSet presAssocID="{E3504666-FAE7-4052-BCEF-0BE219CA4541}" presName="compNode" presStyleCnt="0"/>
      <dgm:spPr/>
    </dgm:pt>
    <dgm:pt modelId="{254B121D-9B27-48F4-A03D-525BAAB05F5B}" type="pres">
      <dgm:prSet presAssocID="{E3504666-FAE7-4052-BCEF-0BE219CA4541}" presName="bgRect" presStyleLbl="bgShp" presStyleIdx="3" presStyleCnt="6"/>
      <dgm:spPr/>
    </dgm:pt>
    <dgm:pt modelId="{C8099EDB-B279-4F17-BD9E-6459BDF37BB7}" type="pres">
      <dgm:prSet presAssocID="{E3504666-FAE7-4052-BCEF-0BE219CA4541}" presName="iconRect" presStyleLbl="node1" presStyleIdx="3" presStyleCnt="6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ar chart"/>
        </a:ext>
      </dgm:extLst>
    </dgm:pt>
    <dgm:pt modelId="{31A1834A-C52D-4A60-A626-20F620E6F873}" type="pres">
      <dgm:prSet presAssocID="{E3504666-FAE7-4052-BCEF-0BE219CA4541}" presName="spaceRect" presStyleCnt="0"/>
      <dgm:spPr/>
    </dgm:pt>
    <dgm:pt modelId="{6EE3CDBC-ED49-410E-9B2A-0CC34242B3F8}" type="pres">
      <dgm:prSet presAssocID="{E3504666-FAE7-4052-BCEF-0BE219CA4541}" presName="parTx" presStyleLbl="revTx" presStyleIdx="3" presStyleCnt="6">
        <dgm:presLayoutVars>
          <dgm:chMax val="0"/>
          <dgm:chPref val="0"/>
        </dgm:presLayoutVars>
      </dgm:prSet>
      <dgm:spPr/>
    </dgm:pt>
    <dgm:pt modelId="{A1C14400-C102-403E-ADEA-A1DE835DE928}" type="pres">
      <dgm:prSet presAssocID="{D054DB55-C567-4354-A576-762578A0E4FC}" presName="sibTrans" presStyleCnt="0"/>
      <dgm:spPr/>
    </dgm:pt>
    <dgm:pt modelId="{84BC94EA-4770-4AF1-9FF8-1457CF263007}" type="pres">
      <dgm:prSet presAssocID="{B8C795CB-353B-445A-BC4D-0737DA410961}" presName="compNode" presStyleCnt="0"/>
      <dgm:spPr/>
    </dgm:pt>
    <dgm:pt modelId="{738B2FE2-ACF6-42F4-9C4B-7B990AF90428}" type="pres">
      <dgm:prSet presAssocID="{B8C795CB-353B-445A-BC4D-0737DA410961}" presName="bgRect" presStyleLbl="bgShp" presStyleIdx="4" presStyleCnt="6"/>
      <dgm:spPr/>
    </dgm:pt>
    <dgm:pt modelId="{B9EF75FC-DCC5-4BFD-BAB4-0F577A66B5F8}" type="pres">
      <dgm:prSet presAssocID="{B8C795CB-353B-445A-BC4D-0737DA410961}" presName="iconRect" presStyleLbl="node1" presStyleIdx="4" presStyleCnt="6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Judge"/>
        </a:ext>
      </dgm:extLst>
    </dgm:pt>
    <dgm:pt modelId="{27A3AD8E-9715-4E2F-A741-34B229F7CB83}" type="pres">
      <dgm:prSet presAssocID="{B8C795CB-353B-445A-BC4D-0737DA410961}" presName="spaceRect" presStyleCnt="0"/>
      <dgm:spPr/>
    </dgm:pt>
    <dgm:pt modelId="{A512510C-8A16-4B86-9F4E-177176975F1A}" type="pres">
      <dgm:prSet presAssocID="{B8C795CB-353B-445A-BC4D-0737DA410961}" presName="parTx" presStyleLbl="revTx" presStyleIdx="4" presStyleCnt="6">
        <dgm:presLayoutVars>
          <dgm:chMax val="0"/>
          <dgm:chPref val="0"/>
        </dgm:presLayoutVars>
      </dgm:prSet>
      <dgm:spPr/>
    </dgm:pt>
    <dgm:pt modelId="{CB4D94A9-1F48-498A-A229-7096E55FBFA1}" type="pres">
      <dgm:prSet presAssocID="{0E162ACB-7806-4773-B6E2-81AC1E334DCB}" presName="sibTrans" presStyleCnt="0"/>
      <dgm:spPr/>
    </dgm:pt>
    <dgm:pt modelId="{4288EC7E-2DAE-4718-98A2-B6295638364C}" type="pres">
      <dgm:prSet presAssocID="{9D8BDCEA-929D-4C0C-A763-856A0AEF530A}" presName="compNode" presStyleCnt="0"/>
      <dgm:spPr/>
    </dgm:pt>
    <dgm:pt modelId="{B3232C2F-16CA-4C40-BECD-D6E1FB55834C}" type="pres">
      <dgm:prSet presAssocID="{9D8BDCEA-929D-4C0C-A763-856A0AEF530A}" presName="bgRect" presStyleLbl="bgShp" presStyleIdx="5" presStyleCnt="6"/>
      <dgm:spPr/>
    </dgm:pt>
    <dgm:pt modelId="{B087ACDA-53C6-4495-A96E-5A7CFC682F63}" type="pres">
      <dgm:prSet presAssocID="{9D8BDCEA-929D-4C0C-A763-856A0AEF530A}" presName="iconRect" presStyleLbl="node1" presStyleIdx="5" presStyleCnt="6"/>
      <dgm:spPr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octor"/>
        </a:ext>
      </dgm:extLst>
    </dgm:pt>
    <dgm:pt modelId="{1BCE04AD-2DC9-49E1-A3B3-6C470F0E2B06}" type="pres">
      <dgm:prSet presAssocID="{9D8BDCEA-929D-4C0C-A763-856A0AEF530A}" presName="spaceRect" presStyleCnt="0"/>
      <dgm:spPr/>
    </dgm:pt>
    <dgm:pt modelId="{4A1FC33B-99A0-4F16-89D7-16130329BB4A}" type="pres">
      <dgm:prSet presAssocID="{9D8BDCEA-929D-4C0C-A763-856A0AEF530A}" presName="parTx" presStyleLbl="revTx" presStyleIdx="5" presStyleCnt="6">
        <dgm:presLayoutVars>
          <dgm:chMax val="0"/>
          <dgm:chPref val="0"/>
        </dgm:presLayoutVars>
      </dgm:prSet>
      <dgm:spPr/>
    </dgm:pt>
  </dgm:ptLst>
  <dgm:cxnLst>
    <dgm:cxn modelId="{455BCA09-1A0D-4974-B4D7-6B9DE80BB0BB}" type="presOf" srcId="{391C1984-0A35-4C02-B3F0-AC479F3FD62F}" destId="{916C0620-F115-4B78-A45C-6E14BD491F7D}" srcOrd="0" destOrd="0" presId="urn:microsoft.com/office/officeart/2018/2/layout/IconVerticalSolidList"/>
    <dgm:cxn modelId="{36149C22-B96A-42D0-8610-83BB363B4389}" srcId="{391C1984-0A35-4C02-B3F0-AC479F3FD62F}" destId="{B8C795CB-353B-445A-BC4D-0737DA410961}" srcOrd="4" destOrd="0" parTransId="{F73D935D-4C83-4D7E-8F92-D0D6B8CCABAB}" sibTransId="{0E162ACB-7806-4773-B6E2-81AC1E334DCB}"/>
    <dgm:cxn modelId="{9D696633-E6B1-47F0-8EA6-37B9CBF0AE56}" srcId="{391C1984-0A35-4C02-B3F0-AC479F3FD62F}" destId="{2CA92949-3CC7-4C5E-B866-A66B47F6C183}" srcOrd="2" destOrd="0" parTransId="{8BC2A555-D964-4149-8D27-2CC3BCC6CE27}" sibTransId="{7F159EFE-F9DF-4C02-91F6-5562A92C5062}"/>
    <dgm:cxn modelId="{BA407934-78DA-4B20-A0F6-F98FBFE0B3BE}" type="presOf" srcId="{E3504666-FAE7-4052-BCEF-0BE219CA4541}" destId="{6EE3CDBC-ED49-410E-9B2A-0CC34242B3F8}" srcOrd="0" destOrd="0" presId="urn:microsoft.com/office/officeart/2018/2/layout/IconVerticalSolidList"/>
    <dgm:cxn modelId="{87A8183E-F6BB-4D8A-B1D3-CEDA47FE5C53}" type="presOf" srcId="{9D8BDCEA-929D-4C0C-A763-856A0AEF530A}" destId="{4A1FC33B-99A0-4F16-89D7-16130329BB4A}" srcOrd="0" destOrd="0" presId="urn:microsoft.com/office/officeart/2018/2/layout/IconVerticalSolidList"/>
    <dgm:cxn modelId="{02F49241-63D1-465D-8A72-C94D18FBC764}" type="presOf" srcId="{F32DE73B-4702-4F66-AF86-EE8A592CF63C}" destId="{AB04BAD5-A0CA-4CA3-AC4B-F67858696B1B}" srcOrd="0" destOrd="0" presId="urn:microsoft.com/office/officeart/2018/2/layout/IconVerticalSolidList"/>
    <dgm:cxn modelId="{6E8D7065-52DE-4BB7-9B6E-971350929702}" type="presOf" srcId="{2CA92949-3CC7-4C5E-B866-A66B47F6C183}" destId="{70E1CA13-4EA3-421A-B5FA-216EF420D834}" srcOrd="0" destOrd="0" presId="urn:microsoft.com/office/officeart/2018/2/layout/IconVerticalSolidList"/>
    <dgm:cxn modelId="{FCB0AD71-69C9-4FB7-9AEE-617D12BA2EBB}" srcId="{391C1984-0A35-4C02-B3F0-AC479F3FD62F}" destId="{6DCD20C4-4C2A-46BF-8325-897914D96118}" srcOrd="1" destOrd="0" parTransId="{3D927AD0-6E05-4C99-8AF6-3B18E3AD1CF6}" sibTransId="{D491FD6A-B76E-4DC4-836D-134B83E84098}"/>
    <dgm:cxn modelId="{C18D3979-2555-49F0-A386-617CF6498ED9}" srcId="{391C1984-0A35-4C02-B3F0-AC479F3FD62F}" destId="{F32DE73B-4702-4F66-AF86-EE8A592CF63C}" srcOrd="0" destOrd="0" parTransId="{B4F58785-0DA6-4EA4-9B2A-2F4C44361B6D}" sibTransId="{3FAF48C2-0627-4336-8548-F895C56080FF}"/>
    <dgm:cxn modelId="{F9D22A80-6674-44B5-BF97-E084D8C8631C}" srcId="{391C1984-0A35-4C02-B3F0-AC479F3FD62F}" destId="{E3504666-FAE7-4052-BCEF-0BE219CA4541}" srcOrd="3" destOrd="0" parTransId="{8F4A6479-77AC-4EE2-8FA5-6717FC864567}" sibTransId="{D054DB55-C567-4354-A576-762578A0E4FC}"/>
    <dgm:cxn modelId="{2EF2FC9F-8CD5-40B9-861A-10278F31A469}" type="presOf" srcId="{B8C795CB-353B-445A-BC4D-0737DA410961}" destId="{A512510C-8A16-4B86-9F4E-177176975F1A}" srcOrd="0" destOrd="0" presId="urn:microsoft.com/office/officeart/2018/2/layout/IconVerticalSolidList"/>
    <dgm:cxn modelId="{BD0E4FC2-F7FC-4EC4-BF8F-609667989543}" srcId="{391C1984-0A35-4C02-B3F0-AC479F3FD62F}" destId="{9D8BDCEA-929D-4C0C-A763-856A0AEF530A}" srcOrd="5" destOrd="0" parTransId="{6FABCCF5-CEEA-40CB-8C19-CC233CB71521}" sibTransId="{A4B01161-E6AC-4EEA-ABAC-96F382DBDD8A}"/>
    <dgm:cxn modelId="{6A45F4CF-758E-4EC0-BB38-890E842A4CD9}" type="presOf" srcId="{6DCD20C4-4C2A-46BF-8325-897914D96118}" destId="{183A542B-F7C2-46A6-BFA9-12921CFD7FA3}" srcOrd="0" destOrd="0" presId="urn:microsoft.com/office/officeart/2018/2/layout/IconVerticalSolidList"/>
    <dgm:cxn modelId="{3987E560-8F3E-4C4F-9874-40EDE7C420A2}" type="presParOf" srcId="{916C0620-F115-4B78-A45C-6E14BD491F7D}" destId="{E472B5E2-9734-4367-A256-EBA5ED033F60}" srcOrd="0" destOrd="0" presId="urn:microsoft.com/office/officeart/2018/2/layout/IconVerticalSolidList"/>
    <dgm:cxn modelId="{4EAECEC7-074F-4CD1-8A8F-630429F85FE3}" type="presParOf" srcId="{E472B5E2-9734-4367-A256-EBA5ED033F60}" destId="{62FB4B3D-289D-498C-82D4-D0DAABBB971D}" srcOrd="0" destOrd="0" presId="urn:microsoft.com/office/officeart/2018/2/layout/IconVerticalSolidList"/>
    <dgm:cxn modelId="{7716B94C-0387-4851-8A97-E775DEA5A77F}" type="presParOf" srcId="{E472B5E2-9734-4367-A256-EBA5ED033F60}" destId="{5C3384A9-3D45-4F89-91EC-282A154DB90D}" srcOrd="1" destOrd="0" presId="urn:microsoft.com/office/officeart/2018/2/layout/IconVerticalSolidList"/>
    <dgm:cxn modelId="{6DBB9859-0157-47CA-A834-E8CECC21CE89}" type="presParOf" srcId="{E472B5E2-9734-4367-A256-EBA5ED033F60}" destId="{B2799859-F8FB-4EA9-A0ED-B3E7751AE07F}" srcOrd="2" destOrd="0" presId="urn:microsoft.com/office/officeart/2018/2/layout/IconVerticalSolidList"/>
    <dgm:cxn modelId="{73609C5C-5016-463D-8C5A-9129DA5554C8}" type="presParOf" srcId="{E472B5E2-9734-4367-A256-EBA5ED033F60}" destId="{AB04BAD5-A0CA-4CA3-AC4B-F67858696B1B}" srcOrd="3" destOrd="0" presId="urn:microsoft.com/office/officeart/2018/2/layout/IconVerticalSolidList"/>
    <dgm:cxn modelId="{CECC27D2-CFE3-4088-B502-98FD2C6EAFED}" type="presParOf" srcId="{916C0620-F115-4B78-A45C-6E14BD491F7D}" destId="{77270151-2AEC-4C9B-B40E-083940927920}" srcOrd="1" destOrd="0" presId="urn:microsoft.com/office/officeart/2018/2/layout/IconVerticalSolidList"/>
    <dgm:cxn modelId="{62C4134C-E5F5-4580-A86E-43871B55ADE6}" type="presParOf" srcId="{916C0620-F115-4B78-A45C-6E14BD491F7D}" destId="{1A0C3472-676D-41D0-A05E-245CBEE5F530}" srcOrd="2" destOrd="0" presId="urn:microsoft.com/office/officeart/2018/2/layout/IconVerticalSolidList"/>
    <dgm:cxn modelId="{9A1D3D5A-1175-4EF2-AF28-81D5167616D8}" type="presParOf" srcId="{1A0C3472-676D-41D0-A05E-245CBEE5F530}" destId="{A9F957DF-ADB9-4C65-BE0B-DD871E2D10B3}" srcOrd="0" destOrd="0" presId="urn:microsoft.com/office/officeart/2018/2/layout/IconVerticalSolidList"/>
    <dgm:cxn modelId="{F5CC42A1-34C5-4DB3-871D-7EF5912BB91A}" type="presParOf" srcId="{1A0C3472-676D-41D0-A05E-245CBEE5F530}" destId="{B5F68E8B-D95C-49B6-9B2F-2EB981ADCFBA}" srcOrd="1" destOrd="0" presId="urn:microsoft.com/office/officeart/2018/2/layout/IconVerticalSolidList"/>
    <dgm:cxn modelId="{36B06CC8-A17A-4CB7-A329-877FA478E7EB}" type="presParOf" srcId="{1A0C3472-676D-41D0-A05E-245CBEE5F530}" destId="{FA6A359A-B23E-428D-B646-4A6BD638C75A}" srcOrd="2" destOrd="0" presId="urn:microsoft.com/office/officeart/2018/2/layout/IconVerticalSolidList"/>
    <dgm:cxn modelId="{65046E7F-D071-449B-A525-035AF8E3917C}" type="presParOf" srcId="{1A0C3472-676D-41D0-A05E-245CBEE5F530}" destId="{183A542B-F7C2-46A6-BFA9-12921CFD7FA3}" srcOrd="3" destOrd="0" presId="urn:microsoft.com/office/officeart/2018/2/layout/IconVerticalSolidList"/>
    <dgm:cxn modelId="{EC1C5637-D55B-44C9-8D61-9CB359710EE8}" type="presParOf" srcId="{916C0620-F115-4B78-A45C-6E14BD491F7D}" destId="{E5A69371-29B7-4039-8D6F-7169A91038E8}" srcOrd="3" destOrd="0" presId="urn:microsoft.com/office/officeart/2018/2/layout/IconVerticalSolidList"/>
    <dgm:cxn modelId="{9D0F46F8-0BA3-4F09-9510-2F88830F3B77}" type="presParOf" srcId="{916C0620-F115-4B78-A45C-6E14BD491F7D}" destId="{57CF67F0-5FD3-4E55-81B8-AE841804A732}" srcOrd="4" destOrd="0" presId="urn:microsoft.com/office/officeart/2018/2/layout/IconVerticalSolidList"/>
    <dgm:cxn modelId="{D880F57F-C72B-41F4-91CC-95C30088B238}" type="presParOf" srcId="{57CF67F0-5FD3-4E55-81B8-AE841804A732}" destId="{D91E6550-C24B-4E6D-91F5-34A1653AF088}" srcOrd="0" destOrd="0" presId="urn:microsoft.com/office/officeart/2018/2/layout/IconVerticalSolidList"/>
    <dgm:cxn modelId="{C4A54D9E-81F4-40DA-A4DB-1E2EB4613AD4}" type="presParOf" srcId="{57CF67F0-5FD3-4E55-81B8-AE841804A732}" destId="{ED1C20D1-86A5-47C7-96A9-1C3876E8CE4B}" srcOrd="1" destOrd="0" presId="urn:microsoft.com/office/officeart/2018/2/layout/IconVerticalSolidList"/>
    <dgm:cxn modelId="{F206A716-00EA-4B62-A7CD-7F85EE684464}" type="presParOf" srcId="{57CF67F0-5FD3-4E55-81B8-AE841804A732}" destId="{1E55ECD5-AC90-4E50-91C9-B414CB74FF25}" srcOrd="2" destOrd="0" presId="urn:microsoft.com/office/officeart/2018/2/layout/IconVerticalSolidList"/>
    <dgm:cxn modelId="{660ED17F-E31F-4816-8A16-231AA065D718}" type="presParOf" srcId="{57CF67F0-5FD3-4E55-81B8-AE841804A732}" destId="{70E1CA13-4EA3-421A-B5FA-216EF420D834}" srcOrd="3" destOrd="0" presId="urn:microsoft.com/office/officeart/2018/2/layout/IconVerticalSolidList"/>
    <dgm:cxn modelId="{039D1851-774B-4E94-B7B1-1DF9B3E7A917}" type="presParOf" srcId="{916C0620-F115-4B78-A45C-6E14BD491F7D}" destId="{A7DCE00D-3026-47E7-8A76-52934B7BCCD2}" srcOrd="5" destOrd="0" presId="urn:microsoft.com/office/officeart/2018/2/layout/IconVerticalSolidList"/>
    <dgm:cxn modelId="{0ECED27B-07CD-40CA-8BD2-C45A75499D7B}" type="presParOf" srcId="{916C0620-F115-4B78-A45C-6E14BD491F7D}" destId="{E55A7442-042E-4202-B3AB-4AB3709971FE}" srcOrd="6" destOrd="0" presId="urn:microsoft.com/office/officeart/2018/2/layout/IconVerticalSolidList"/>
    <dgm:cxn modelId="{B11F3587-9A8F-46AF-875C-F5B1515E71FE}" type="presParOf" srcId="{E55A7442-042E-4202-B3AB-4AB3709971FE}" destId="{254B121D-9B27-48F4-A03D-525BAAB05F5B}" srcOrd="0" destOrd="0" presId="urn:microsoft.com/office/officeart/2018/2/layout/IconVerticalSolidList"/>
    <dgm:cxn modelId="{17C68A3D-CF54-458E-B852-8A97ABB550A7}" type="presParOf" srcId="{E55A7442-042E-4202-B3AB-4AB3709971FE}" destId="{C8099EDB-B279-4F17-BD9E-6459BDF37BB7}" srcOrd="1" destOrd="0" presId="urn:microsoft.com/office/officeart/2018/2/layout/IconVerticalSolidList"/>
    <dgm:cxn modelId="{3646E20C-6C51-4984-8CAF-5B002AADC018}" type="presParOf" srcId="{E55A7442-042E-4202-B3AB-4AB3709971FE}" destId="{31A1834A-C52D-4A60-A626-20F620E6F873}" srcOrd="2" destOrd="0" presId="urn:microsoft.com/office/officeart/2018/2/layout/IconVerticalSolidList"/>
    <dgm:cxn modelId="{511895B5-7676-40D1-B371-2A8B6CE839C0}" type="presParOf" srcId="{E55A7442-042E-4202-B3AB-4AB3709971FE}" destId="{6EE3CDBC-ED49-410E-9B2A-0CC34242B3F8}" srcOrd="3" destOrd="0" presId="urn:microsoft.com/office/officeart/2018/2/layout/IconVerticalSolidList"/>
    <dgm:cxn modelId="{2A521679-BD19-45EE-BB2D-24B7C700A8DD}" type="presParOf" srcId="{916C0620-F115-4B78-A45C-6E14BD491F7D}" destId="{A1C14400-C102-403E-ADEA-A1DE835DE928}" srcOrd="7" destOrd="0" presId="urn:microsoft.com/office/officeart/2018/2/layout/IconVerticalSolidList"/>
    <dgm:cxn modelId="{1E3B9312-BD99-4AE8-843D-0ABFD00E04EA}" type="presParOf" srcId="{916C0620-F115-4B78-A45C-6E14BD491F7D}" destId="{84BC94EA-4770-4AF1-9FF8-1457CF263007}" srcOrd="8" destOrd="0" presId="urn:microsoft.com/office/officeart/2018/2/layout/IconVerticalSolidList"/>
    <dgm:cxn modelId="{D204091E-AC66-4484-99A0-AEEBF0C5E910}" type="presParOf" srcId="{84BC94EA-4770-4AF1-9FF8-1457CF263007}" destId="{738B2FE2-ACF6-42F4-9C4B-7B990AF90428}" srcOrd="0" destOrd="0" presId="urn:microsoft.com/office/officeart/2018/2/layout/IconVerticalSolidList"/>
    <dgm:cxn modelId="{A5D38902-88D2-49E0-B5F1-343D13715B9A}" type="presParOf" srcId="{84BC94EA-4770-4AF1-9FF8-1457CF263007}" destId="{B9EF75FC-DCC5-4BFD-BAB4-0F577A66B5F8}" srcOrd="1" destOrd="0" presId="urn:microsoft.com/office/officeart/2018/2/layout/IconVerticalSolidList"/>
    <dgm:cxn modelId="{B42C0805-9871-47F3-9429-22F3C5165890}" type="presParOf" srcId="{84BC94EA-4770-4AF1-9FF8-1457CF263007}" destId="{27A3AD8E-9715-4E2F-A741-34B229F7CB83}" srcOrd="2" destOrd="0" presId="urn:microsoft.com/office/officeart/2018/2/layout/IconVerticalSolidList"/>
    <dgm:cxn modelId="{A9D63DA4-B649-4A43-BF52-616332FC4FF0}" type="presParOf" srcId="{84BC94EA-4770-4AF1-9FF8-1457CF263007}" destId="{A512510C-8A16-4B86-9F4E-177176975F1A}" srcOrd="3" destOrd="0" presId="urn:microsoft.com/office/officeart/2018/2/layout/IconVerticalSolidList"/>
    <dgm:cxn modelId="{D43EE470-2453-4824-9F72-6C77BEDAE77D}" type="presParOf" srcId="{916C0620-F115-4B78-A45C-6E14BD491F7D}" destId="{CB4D94A9-1F48-498A-A229-7096E55FBFA1}" srcOrd="9" destOrd="0" presId="urn:microsoft.com/office/officeart/2018/2/layout/IconVerticalSolidList"/>
    <dgm:cxn modelId="{3A2A8D96-8682-4957-A7B2-487B10FCD729}" type="presParOf" srcId="{916C0620-F115-4B78-A45C-6E14BD491F7D}" destId="{4288EC7E-2DAE-4718-98A2-B6295638364C}" srcOrd="10" destOrd="0" presId="urn:microsoft.com/office/officeart/2018/2/layout/IconVerticalSolidList"/>
    <dgm:cxn modelId="{B558A5C0-3FB6-48D4-A4C3-DCD5D1304DE4}" type="presParOf" srcId="{4288EC7E-2DAE-4718-98A2-B6295638364C}" destId="{B3232C2F-16CA-4C40-BECD-D6E1FB55834C}" srcOrd="0" destOrd="0" presId="urn:microsoft.com/office/officeart/2018/2/layout/IconVerticalSolidList"/>
    <dgm:cxn modelId="{5B30F62F-2A6D-4EB8-A426-599139E19BB2}" type="presParOf" srcId="{4288EC7E-2DAE-4718-98A2-B6295638364C}" destId="{B087ACDA-53C6-4495-A96E-5A7CFC682F63}" srcOrd="1" destOrd="0" presId="urn:microsoft.com/office/officeart/2018/2/layout/IconVerticalSolidList"/>
    <dgm:cxn modelId="{0A4EA17B-DBC0-42AE-8F85-4B283FBBEB82}" type="presParOf" srcId="{4288EC7E-2DAE-4718-98A2-B6295638364C}" destId="{1BCE04AD-2DC9-49E1-A3B3-6C470F0E2B06}" srcOrd="2" destOrd="0" presId="urn:microsoft.com/office/officeart/2018/2/layout/IconVerticalSolidList"/>
    <dgm:cxn modelId="{D7AC2BE8-4C54-4D1D-9619-A683EF9A8B4C}" type="presParOf" srcId="{4288EC7E-2DAE-4718-98A2-B6295638364C}" destId="{4A1FC33B-99A0-4F16-89D7-16130329BB4A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782DE83-E419-4A6F-9177-752BB5B7E1E6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14293FDE-6243-43CB-BF56-17EEB3A2E8F1}">
      <dgm:prSet/>
      <dgm:spPr/>
      <dgm:t>
        <a:bodyPr/>
        <a:lstStyle/>
        <a:p>
          <a:r>
            <a:rPr lang="en-US"/>
            <a:t>Provides a robust and scalable foundation for high-quality ML operations</a:t>
          </a:r>
        </a:p>
      </dgm:t>
    </dgm:pt>
    <dgm:pt modelId="{5FA6F3D3-A6DE-44AB-9133-FF4155784577}" type="parTrans" cxnId="{9EB2150F-7F0B-4068-8E49-AF079C675898}">
      <dgm:prSet/>
      <dgm:spPr/>
      <dgm:t>
        <a:bodyPr/>
        <a:lstStyle/>
        <a:p>
          <a:endParaRPr lang="en-US"/>
        </a:p>
      </dgm:t>
    </dgm:pt>
    <dgm:pt modelId="{95C9DFFC-E1B8-4535-BE36-CC4A6C17AA73}" type="sibTrans" cxnId="{9EB2150F-7F0B-4068-8E49-AF079C675898}">
      <dgm:prSet/>
      <dgm:spPr/>
      <dgm:t>
        <a:bodyPr/>
        <a:lstStyle/>
        <a:p>
          <a:endParaRPr lang="en-US"/>
        </a:p>
      </dgm:t>
    </dgm:pt>
    <dgm:pt modelId="{B4794E46-AE08-4FB4-9D48-B5432705EABC}">
      <dgm:prSet/>
      <dgm:spPr/>
      <dgm:t>
        <a:bodyPr/>
        <a:lstStyle/>
        <a:p>
          <a:r>
            <a:rPr lang="en-US"/>
            <a:t>Integrates data drift detection, data quality profiling, and model performance tracking</a:t>
          </a:r>
        </a:p>
      </dgm:t>
    </dgm:pt>
    <dgm:pt modelId="{55F12A05-83A2-43C2-BAC9-1653F2374737}" type="parTrans" cxnId="{CA419833-622B-4984-9143-74FB63FC0242}">
      <dgm:prSet/>
      <dgm:spPr/>
      <dgm:t>
        <a:bodyPr/>
        <a:lstStyle/>
        <a:p>
          <a:endParaRPr lang="en-US"/>
        </a:p>
      </dgm:t>
    </dgm:pt>
    <dgm:pt modelId="{F2A44E82-9945-49A8-A8B4-ECC6DF09993B}" type="sibTrans" cxnId="{CA419833-622B-4984-9143-74FB63FC0242}">
      <dgm:prSet/>
      <dgm:spPr/>
      <dgm:t>
        <a:bodyPr/>
        <a:lstStyle/>
        <a:p>
          <a:endParaRPr lang="en-US"/>
        </a:p>
      </dgm:t>
    </dgm:pt>
    <dgm:pt modelId="{EF34EAC0-F5A2-4484-BA9A-3F7C533364EF}">
      <dgm:prSet/>
      <dgm:spPr/>
      <dgm:t>
        <a:bodyPr/>
        <a:lstStyle/>
        <a:p>
          <a:r>
            <a:rPr lang="en-US"/>
            <a:t>Enables teams to proactively manage model reliability and regulatory compliance</a:t>
          </a:r>
        </a:p>
      </dgm:t>
    </dgm:pt>
    <dgm:pt modelId="{0107AF5C-39B7-41B6-BCFE-AD2A9D12D479}" type="parTrans" cxnId="{F7302331-7497-47E5-BDBC-3864CF628F27}">
      <dgm:prSet/>
      <dgm:spPr/>
      <dgm:t>
        <a:bodyPr/>
        <a:lstStyle/>
        <a:p>
          <a:endParaRPr lang="en-US"/>
        </a:p>
      </dgm:t>
    </dgm:pt>
    <dgm:pt modelId="{1CAE67D7-FD59-418C-BD1F-9CFF3EFD0952}" type="sibTrans" cxnId="{F7302331-7497-47E5-BDBC-3864CF628F27}">
      <dgm:prSet/>
      <dgm:spPr/>
      <dgm:t>
        <a:bodyPr/>
        <a:lstStyle/>
        <a:p>
          <a:endParaRPr lang="en-US"/>
        </a:p>
      </dgm:t>
    </dgm:pt>
    <dgm:pt modelId="{8A85D420-08B4-439C-A519-86458B4DE39B}">
      <dgm:prSet/>
      <dgm:spPr/>
      <dgm:t>
        <a:bodyPr/>
        <a:lstStyle/>
        <a:p>
          <a:r>
            <a:rPr lang="en-US" dirty="0"/>
            <a:t>Offers a platform-agnostic, modular SDK design compatible with diverse environments</a:t>
          </a:r>
        </a:p>
      </dgm:t>
    </dgm:pt>
    <dgm:pt modelId="{D9265F5F-E1E4-4BF1-9E46-5FBE39501DFD}" type="parTrans" cxnId="{DBC2E10D-10DB-4EC9-8F14-5911E6615B28}">
      <dgm:prSet/>
      <dgm:spPr/>
      <dgm:t>
        <a:bodyPr/>
        <a:lstStyle/>
        <a:p>
          <a:endParaRPr lang="en-US"/>
        </a:p>
      </dgm:t>
    </dgm:pt>
    <dgm:pt modelId="{DCBF79C3-B2E4-47ED-B02E-10790DD66713}" type="sibTrans" cxnId="{DBC2E10D-10DB-4EC9-8F14-5911E6615B28}">
      <dgm:prSet/>
      <dgm:spPr/>
      <dgm:t>
        <a:bodyPr/>
        <a:lstStyle/>
        <a:p>
          <a:endParaRPr lang="en-US"/>
        </a:p>
      </dgm:t>
    </dgm:pt>
    <dgm:pt modelId="{0BEC73A8-F758-4206-9106-AB5AC370AA71}">
      <dgm:prSet/>
      <dgm:spPr/>
      <dgm:t>
        <a:bodyPr/>
        <a:lstStyle/>
        <a:p>
          <a:r>
            <a:rPr lang="en-US"/>
            <a:t>Supports delivery of trustworthy, efficient ML systems aligning with evolving business needs</a:t>
          </a:r>
        </a:p>
      </dgm:t>
    </dgm:pt>
    <dgm:pt modelId="{4FC8B7C4-3856-4575-98C0-61DF21BBB224}" type="parTrans" cxnId="{D911F3E1-6C1B-4290-BBD9-FFDED9701389}">
      <dgm:prSet/>
      <dgm:spPr/>
      <dgm:t>
        <a:bodyPr/>
        <a:lstStyle/>
        <a:p>
          <a:endParaRPr lang="en-US"/>
        </a:p>
      </dgm:t>
    </dgm:pt>
    <dgm:pt modelId="{2D848E5C-B3A0-466C-9D6A-79E02F4A8F74}" type="sibTrans" cxnId="{D911F3E1-6C1B-4290-BBD9-FFDED9701389}">
      <dgm:prSet/>
      <dgm:spPr/>
      <dgm:t>
        <a:bodyPr/>
        <a:lstStyle/>
        <a:p>
          <a:endParaRPr lang="en-US"/>
        </a:p>
      </dgm:t>
    </dgm:pt>
    <dgm:pt modelId="{4E17A901-A082-4C82-A8D0-96701E952F7E}" type="pres">
      <dgm:prSet presAssocID="{3782DE83-E419-4A6F-9177-752BB5B7E1E6}" presName="root" presStyleCnt="0">
        <dgm:presLayoutVars>
          <dgm:dir/>
          <dgm:resizeHandles val="exact"/>
        </dgm:presLayoutVars>
      </dgm:prSet>
      <dgm:spPr/>
    </dgm:pt>
    <dgm:pt modelId="{035367E9-E939-47B0-929F-827EE2564BCB}" type="pres">
      <dgm:prSet presAssocID="{14293FDE-6243-43CB-BF56-17EEB3A2E8F1}" presName="compNode" presStyleCnt="0"/>
      <dgm:spPr/>
    </dgm:pt>
    <dgm:pt modelId="{E48EE024-B985-47C1-B38E-91043804035E}" type="pres">
      <dgm:prSet presAssocID="{14293FDE-6243-43CB-BF56-17EEB3A2E8F1}" presName="bgRect" presStyleLbl="bgShp" presStyleIdx="0" presStyleCnt="5"/>
      <dgm:spPr/>
    </dgm:pt>
    <dgm:pt modelId="{47682415-1D24-4E53-8D92-35EC7BF325F7}" type="pres">
      <dgm:prSet presAssocID="{14293FDE-6243-43CB-BF56-17EEB3A2E8F1}" presName="iconRect" presStyleLbl="node1" presStyleIdx="0" presStyleCnt="5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Processor"/>
        </a:ext>
      </dgm:extLst>
    </dgm:pt>
    <dgm:pt modelId="{1129BD25-B997-4D82-A752-1E643CCBB13B}" type="pres">
      <dgm:prSet presAssocID="{14293FDE-6243-43CB-BF56-17EEB3A2E8F1}" presName="spaceRect" presStyleCnt="0"/>
      <dgm:spPr/>
    </dgm:pt>
    <dgm:pt modelId="{55E02FF4-9A31-4D21-A22C-B2CE22287812}" type="pres">
      <dgm:prSet presAssocID="{14293FDE-6243-43CB-BF56-17EEB3A2E8F1}" presName="parTx" presStyleLbl="revTx" presStyleIdx="0" presStyleCnt="5">
        <dgm:presLayoutVars>
          <dgm:chMax val="0"/>
          <dgm:chPref val="0"/>
        </dgm:presLayoutVars>
      </dgm:prSet>
      <dgm:spPr/>
    </dgm:pt>
    <dgm:pt modelId="{4E8E0E7C-06F1-40F7-A723-E9760CBEC567}" type="pres">
      <dgm:prSet presAssocID="{95C9DFFC-E1B8-4535-BE36-CC4A6C17AA73}" presName="sibTrans" presStyleCnt="0"/>
      <dgm:spPr/>
    </dgm:pt>
    <dgm:pt modelId="{BE019156-B56A-410C-B04D-C4BC6B2A2D01}" type="pres">
      <dgm:prSet presAssocID="{B4794E46-AE08-4FB4-9D48-B5432705EABC}" presName="compNode" presStyleCnt="0"/>
      <dgm:spPr/>
    </dgm:pt>
    <dgm:pt modelId="{3B687AE5-BC8E-48F0-B183-B3479E31B497}" type="pres">
      <dgm:prSet presAssocID="{B4794E46-AE08-4FB4-9D48-B5432705EABC}" presName="bgRect" presStyleLbl="bgShp" presStyleIdx="1" presStyleCnt="5"/>
      <dgm:spPr/>
    </dgm:pt>
    <dgm:pt modelId="{8239435E-0EE8-4FE6-BE01-8F7C2617DA6F}" type="pres">
      <dgm:prSet presAssocID="{B4794E46-AE08-4FB4-9D48-B5432705EABC}" presName="iconRect" presStyleLbl="node1" presStyleIdx="1" presStyleCnt="5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tatistics"/>
        </a:ext>
      </dgm:extLst>
    </dgm:pt>
    <dgm:pt modelId="{16FEF2C7-92A0-41C2-9292-2315EE857133}" type="pres">
      <dgm:prSet presAssocID="{B4794E46-AE08-4FB4-9D48-B5432705EABC}" presName="spaceRect" presStyleCnt="0"/>
      <dgm:spPr/>
    </dgm:pt>
    <dgm:pt modelId="{54DADF97-785F-4D91-AD90-A921353749E4}" type="pres">
      <dgm:prSet presAssocID="{B4794E46-AE08-4FB4-9D48-B5432705EABC}" presName="parTx" presStyleLbl="revTx" presStyleIdx="1" presStyleCnt="5">
        <dgm:presLayoutVars>
          <dgm:chMax val="0"/>
          <dgm:chPref val="0"/>
        </dgm:presLayoutVars>
      </dgm:prSet>
      <dgm:spPr/>
    </dgm:pt>
    <dgm:pt modelId="{6DCC86EF-79EF-4863-888D-026EA4CBA846}" type="pres">
      <dgm:prSet presAssocID="{F2A44E82-9945-49A8-A8B4-ECC6DF09993B}" presName="sibTrans" presStyleCnt="0"/>
      <dgm:spPr/>
    </dgm:pt>
    <dgm:pt modelId="{EE7654BC-160A-4BB8-82DF-015F35DD19CF}" type="pres">
      <dgm:prSet presAssocID="{EF34EAC0-F5A2-4484-BA9A-3F7C533364EF}" presName="compNode" presStyleCnt="0"/>
      <dgm:spPr/>
    </dgm:pt>
    <dgm:pt modelId="{A3DB6DF7-75C9-4E2E-B2DE-26FB9E81C3F0}" type="pres">
      <dgm:prSet presAssocID="{EF34EAC0-F5A2-4484-BA9A-3F7C533364EF}" presName="bgRect" presStyleLbl="bgShp" presStyleIdx="2" presStyleCnt="5"/>
      <dgm:spPr/>
    </dgm:pt>
    <dgm:pt modelId="{1AB11F35-037B-43E4-8B20-A232449CAA47}" type="pres">
      <dgm:prSet presAssocID="{EF34EAC0-F5A2-4484-BA9A-3F7C533364EF}" presName="iconRect" presStyleLbl="node1" presStyleIdx="2" presStyleCnt="5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Gears"/>
        </a:ext>
      </dgm:extLst>
    </dgm:pt>
    <dgm:pt modelId="{E36BEB40-4C12-48E7-B8E1-789B6C142A17}" type="pres">
      <dgm:prSet presAssocID="{EF34EAC0-F5A2-4484-BA9A-3F7C533364EF}" presName="spaceRect" presStyleCnt="0"/>
      <dgm:spPr/>
    </dgm:pt>
    <dgm:pt modelId="{8F022A99-120C-4AA4-8CDB-5D14CBB4614D}" type="pres">
      <dgm:prSet presAssocID="{EF34EAC0-F5A2-4484-BA9A-3F7C533364EF}" presName="parTx" presStyleLbl="revTx" presStyleIdx="2" presStyleCnt="5">
        <dgm:presLayoutVars>
          <dgm:chMax val="0"/>
          <dgm:chPref val="0"/>
        </dgm:presLayoutVars>
      </dgm:prSet>
      <dgm:spPr/>
    </dgm:pt>
    <dgm:pt modelId="{832C6D33-AFBF-473B-9BCB-9A91884B1EA2}" type="pres">
      <dgm:prSet presAssocID="{1CAE67D7-FD59-418C-BD1F-9CFF3EFD0952}" presName="sibTrans" presStyleCnt="0"/>
      <dgm:spPr/>
    </dgm:pt>
    <dgm:pt modelId="{AB42389C-CAC5-4244-A654-FBA385D7727D}" type="pres">
      <dgm:prSet presAssocID="{8A85D420-08B4-439C-A519-86458B4DE39B}" presName="compNode" presStyleCnt="0"/>
      <dgm:spPr/>
    </dgm:pt>
    <dgm:pt modelId="{D1CE2EB7-5C8B-41C9-9A9E-DAF3CE30444A}" type="pres">
      <dgm:prSet presAssocID="{8A85D420-08B4-439C-A519-86458B4DE39B}" presName="bgRect" presStyleLbl="bgShp" presStyleIdx="3" presStyleCnt="5"/>
      <dgm:spPr/>
    </dgm:pt>
    <dgm:pt modelId="{3B6ED029-867A-4CEB-9E4F-22E1BEA137E5}" type="pres">
      <dgm:prSet presAssocID="{8A85D420-08B4-439C-A519-86458B4DE39B}" presName="iconRect" presStyleLbl="node1" presStyleIdx="3" presStyleCnt="5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Astronaut"/>
        </a:ext>
      </dgm:extLst>
    </dgm:pt>
    <dgm:pt modelId="{B715E816-98A4-47FA-9786-2F0EC7EB6E4D}" type="pres">
      <dgm:prSet presAssocID="{8A85D420-08B4-439C-A519-86458B4DE39B}" presName="spaceRect" presStyleCnt="0"/>
      <dgm:spPr/>
    </dgm:pt>
    <dgm:pt modelId="{EA781466-86E9-4F90-8BBF-5DE9A830D9A6}" type="pres">
      <dgm:prSet presAssocID="{8A85D420-08B4-439C-A519-86458B4DE39B}" presName="parTx" presStyleLbl="revTx" presStyleIdx="3" presStyleCnt="5">
        <dgm:presLayoutVars>
          <dgm:chMax val="0"/>
          <dgm:chPref val="0"/>
        </dgm:presLayoutVars>
      </dgm:prSet>
      <dgm:spPr/>
    </dgm:pt>
    <dgm:pt modelId="{1E1B3181-2007-4498-B5F6-BC064BF25800}" type="pres">
      <dgm:prSet presAssocID="{DCBF79C3-B2E4-47ED-B02E-10790DD66713}" presName="sibTrans" presStyleCnt="0"/>
      <dgm:spPr/>
    </dgm:pt>
    <dgm:pt modelId="{C0A64741-92AF-4820-B694-3D8C876106DC}" type="pres">
      <dgm:prSet presAssocID="{0BEC73A8-F758-4206-9106-AB5AC370AA71}" presName="compNode" presStyleCnt="0"/>
      <dgm:spPr/>
    </dgm:pt>
    <dgm:pt modelId="{6325ED0D-2D97-4788-9280-DDA302ADED2D}" type="pres">
      <dgm:prSet presAssocID="{0BEC73A8-F758-4206-9106-AB5AC370AA71}" presName="bgRect" presStyleLbl="bgShp" presStyleIdx="4" presStyleCnt="5"/>
      <dgm:spPr/>
    </dgm:pt>
    <dgm:pt modelId="{FD6A3461-CFC3-4866-B298-1FF8793FD4E4}" type="pres">
      <dgm:prSet presAssocID="{0BEC73A8-F758-4206-9106-AB5AC370AA71}" presName="iconRect" presStyleLbl="node1" presStyleIdx="4" presStyleCnt="5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Handshake"/>
        </a:ext>
      </dgm:extLst>
    </dgm:pt>
    <dgm:pt modelId="{5BA7168D-3DE1-4567-9164-1CB82E40C64A}" type="pres">
      <dgm:prSet presAssocID="{0BEC73A8-F758-4206-9106-AB5AC370AA71}" presName="spaceRect" presStyleCnt="0"/>
      <dgm:spPr/>
    </dgm:pt>
    <dgm:pt modelId="{5C3EB6CD-530D-41AB-8BEC-364D7E502BBE}" type="pres">
      <dgm:prSet presAssocID="{0BEC73A8-F758-4206-9106-AB5AC370AA71}" presName="parTx" presStyleLbl="revTx" presStyleIdx="4" presStyleCnt="5">
        <dgm:presLayoutVars>
          <dgm:chMax val="0"/>
          <dgm:chPref val="0"/>
        </dgm:presLayoutVars>
      </dgm:prSet>
      <dgm:spPr/>
    </dgm:pt>
  </dgm:ptLst>
  <dgm:cxnLst>
    <dgm:cxn modelId="{E6402100-D78C-40E8-9629-820828C55566}" type="presOf" srcId="{B4794E46-AE08-4FB4-9D48-B5432705EABC}" destId="{54DADF97-785F-4D91-AD90-A921353749E4}" srcOrd="0" destOrd="0" presId="urn:microsoft.com/office/officeart/2018/2/layout/IconVerticalSolidList"/>
    <dgm:cxn modelId="{DBC2E10D-10DB-4EC9-8F14-5911E6615B28}" srcId="{3782DE83-E419-4A6F-9177-752BB5B7E1E6}" destId="{8A85D420-08B4-439C-A519-86458B4DE39B}" srcOrd="3" destOrd="0" parTransId="{D9265F5F-E1E4-4BF1-9E46-5FBE39501DFD}" sibTransId="{DCBF79C3-B2E4-47ED-B02E-10790DD66713}"/>
    <dgm:cxn modelId="{9EB2150F-7F0B-4068-8E49-AF079C675898}" srcId="{3782DE83-E419-4A6F-9177-752BB5B7E1E6}" destId="{14293FDE-6243-43CB-BF56-17EEB3A2E8F1}" srcOrd="0" destOrd="0" parTransId="{5FA6F3D3-A6DE-44AB-9133-FF4155784577}" sibTransId="{95C9DFFC-E1B8-4535-BE36-CC4A6C17AA73}"/>
    <dgm:cxn modelId="{F7302331-7497-47E5-BDBC-3864CF628F27}" srcId="{3782DE83-E419-4A6F-9177-752BB5B7E1E6}" destId="{EF34EAC0-F5A2-4484-BA9A-3F7C533364EF}" srcOrd="2" destOrd="0" parTransId="{0107AF5C-39B7-41B6-BCFE-AD2A9D12D479}" sibTransId="{1CAE67D7-FD59-418C-BD1F-9CFF3EFD0952}"/>
    <dgm:cxn modelId="{CA419833-622B-4984-9143-74FB63FC0242}" srcId="{3782DE83-E419-4A6F-9177-752BB5B7E1E6}" destId="{B4794E46-AE08-4FB4-9D48-B5432705EABC}" srcOrd="1" destOrd="0" parTransId="{55F12A05-83A2-43C2-BAC9-1653F2374737}" sibTransId="{F2A44E82-9945-49A8-A8B4-ECC6DF09993B}"/>
    <dgm:cxn modelId="{04567F68-30CB-421B-B0D3-39EB3EA1C0CD}" type="presOf" srcId="{14293FDE-6243-43CB-BF56-17EEB3A2E8F1}" destId="{55E02FF4-9A31-4D21-A22C-B2CE22287812}" srcOrd="0" destOrd="0" presId="urn:microsoft.com/office/officeart/2018/2/layout/IconVerticalSolidList"/>
    <dgm:cxn modelId="{D8D7E89A-3F21-4845-A97D-E60AD9214894}" type="presOf" srcId="{3782DE83-E419-4A6F-9177-752BB5B7E1E6}" destId="{4E17A901-A082-4C82-A8D0-96701E952F7E}" srcOrd="0" destOrd="0" presId="urn:microsoft.com/office/officeart/2018/2/layout/IconVerticalSolidList"/>
    <dgm:cxn modelId="{62C6329F-7E78-4F4B-B778-DAE7A836B490}" type="presOf" srcId="{EF34EAC0-F5A2-4484-BA9A-3F7C533364EF}" destId="{8F022A99-120C-4AA4-8CDB-5D14CBB4614D}" srcOrd="0" destOrd="0" presId="urn:microsoft.com/office/officeart/2018/2/layout/IconVerticalSolidList"/>
    <dgm:cxn modelId="{5FB4E8AF-C7D0-40B8-B582-E013253EAA44}" type="presOf" srcId="{0BEC73A8-F758-4206-9106-AB5AC370AA71}" destId="{5C3EB6CD-530D-41AB-8BEC-364D7E502BBE}" srcOrd="0" destOrd="0" presId="urn:microsoft.com/office/officeart/2018/2/layout/IconVerticalSolidList"/>
    <dgm:cxn modelId="{386664B1-F5C9-4374-92DE-357DBEAB563C}" type="presOf" srcId="{8A85D420-08B4-439C-A519-86458B4DE39B}" destId="{EA781466-86E9-4F90-8BBF-5DE9A830D9A6}" srcOrd="0" destOrd="0" presId="urn:microsoft.com/office/officeart/2018/2/layout/IconVerticalSolidList"/>
    <dgm:cxn modelId="{D911F3E1-6C1B-4290-BBD9-FFDED9701389}" srcId="{3782DE83-E419-4A6F-9177-752BB5B7E1E6}" destId="{0BEC73A8-F758-4206-9106-AB5AC370AA71}" srcOrd="4" destOrd="0" parTransId="{4FC8B7C4-3856-4575-98C0-61DF21BBB224}" sibTransId="{2D848E5C-B3A0-466C-9D6A-79E02F4A8F74}"/>
    <dgm:cxn modelId="{3C4452A1-0692-4118-89F2-263FE52EAF83}" type="presParOf" srcId="{4E17A901-A082-4C82-A8D0-96701E952F7E}" destId="{035367E9-E939-47B0-929F-827EE2564BCB}" srcOrd="0" destOrd="0" presId="urn:microsoft.com/office/officeart/2018/2/layout/IconVerticalSolidList"/>
    <dgm:cxn modelId="{898730FA-64B1-47CA-B294-8229F09C5F94}" type="presParOf" srcId="{035367E9-E939-47B0-929F-827EE2564BCB}" destId="{E48EE024-B985-47C1-B38E-91043804035E}" srcOrd="0" destOrd="0" presId="urn:microsoft.com/office/officeart/2018/2/layout/IconVerticalSolidList"/>
    <dgm:cxn modelId="{FE842DF1-F4C2-4B1E-8FEC-C713FB0E3F96}" type="presParOf" srcId="{035367E9-E939-47B0-929F-827EE2564BCB}" destId="{47682415-1D24-4E53-8D92-35EC7BF325F7}" srcOrd="1" destOrd="0" presId="urn:microsoft.com/office/officeart/2018/2/layout/IconVerticalSolidList"/>
    <dgm:cxn modelId="{62F795C2-574E-4E87-8270-B3784C65311D}" type="presParOf" srcId="{035367E9-E939-47B0-929F-827EE2564BCB}" destId="{1129BD25-B997-4D82-A752-1E643CCBB13B}" srcOrd="2" destOrd="0" presId="urn:microsoft.com/office/officeart/2018/2/layout/IconVerticalSolidList"/>
    <dgm:cxn modelId="{6B1BFEF9-6D7B-4BE0-878F-443161A9A961}" type="presParOf" srcId="{035367E9-E939-47B0-929F-827EE2564BCB}" destId="{55E02FF4-9A31-4D21-A22C-B2CE22287812}" srcOrd="3" destOrd="0" presId="urn:microsoft.com/office/officeart/2018/2/layout/IconVerticalSolidList"/>
    <dgm:cxn modelId="{17F49DBD-AB95-4952-9823-49B59F6B172F}" type="presParOf" srcId="{4E17A901-A082-4C82-A8D0-96701E952F7E}" destId="{4E8E0E7C-06F1-40F7-A723-E9760CBEC567}" srcOrd="1" destOrd="0" presId="urn:microsoft.com/office/officeart/2018/2/layout/IconVerticalSolidList"/>
    <dgm:cxn modelId="{7FC8BD5E-371A-4E61-AB38-307BCB40EFA2}" type="presParOf" srcId="{4E17A901-A082-4C82-A8D0-96701E952F7E}" destId="{BE019156-B56A-410C-B04D-C4BC6B2A2D01}" srcOrd="2" destOrd="0" presId="urn:microsoft.com/office/officeart/2018/2/layout/IconVerticalSolidList"/>
    <dgm:cxn modelId="{DBDC37E7-6136-457F-925F-DB176776DD8D}" type="presParOf" srcId="{BE019156-B56A-410C-B04D-C4BC6B2A2D01}" destId="{3B687AE5-BC8E-48F0-B183-B3479E31B497}" srcOrd="0" destOrd="0" presId="urn:microsoft.com/office/officeart/2018/2/layout/IconVerticalSolidList"/>
    <dgm:cxn modelId="{5417022C-591C-498F-B3C6-1B6EDDB9651E}" type="presParOf" srcId="{BE019156-B56A-410C-B04D-C4BC6B2A2D01}" destId="{8239435E-0EE8-4FE6-BE01-8F7C2617DA6F}" srcOrd="1" destOrd="0" presId="urn:microsoft.com/office/officeart/2018/2/layout/IconVerticalSolidList"/>
    <dgm:cxn modelId="{F1A58F7B-8CE3-4BFC-B4E3-69D4F40D6152}" type="presParOf" srcId="{BE019156-B56A-410C-B04D-C4BC6B2A2D01}" destId="{16FEF2C7-92A0-41C2-9292-2315EE857133}" srcOrd="2" destOrd="0" presId="urn:microsoft.com/office/officeart/2018/2/layout/IconVerticalSolidList"/>
    <dgm:cxn modelId="{4127AD36-87F1-429A-A813-6091FDF3FC16}" type="presParOf" srcId="{BE019156-B56A-410C-B04D-C4BC6B2A2D01}" destId="{54DADF97-785F-4D91-AD90-A921353749E4}" srcOrd="3" destOrd="0" presId="urn:microsoft.com/office/officeart/2018/2/layout/IconVerticalSolidList"/>
    <dgm:cxn modelId="{DFF5A64A-140B-4C3A-85C2-0F82247AC239}" type="presParOf" srcId="{4E17A901-A082-4C82-A8D0-96701E952F7E}" destId="{6DCC86EF-79EF-4863-888D-026EA4CBA846}" srcOrd="3" destOrd="0" presId="urn:microsoft.com/office/officeart/2018/2/layout/IconVerticalSolidList"/>
    <dgm:cxn modelId="{7A4C94E4-F47E-4AEF-8189-E793B468EFB3}" type="presParOf" srcId="{4E17A901-A082-4C82-A8D0-96701E952F7E}" destId="{EE7654BC-160A-4BB8-82DF-015F35DD19CF}" srcOrd="4" destOrd="0" presId="urn:microsoft.com/office/officeart/2018/2/layout/IconVerticalSolidList"/>
    <dgm:cxn modelId="{9D992522-F797-4E43-B477-C40718340877}" type="presParOf" srcId="{EE7654BC-160A-4BB8-82DF-015F35DD19CF}" destId="{A3DB6DF7-75C9-4E2E-B2DE-26FB9E81C3F0}" srcOrd="0" destOrd="0" presId="urn:microsoft.com/office/officeart/2018/2/layout/IconVerticalSolidList"/>
    <dgm:cxn modelId="{899A7D93-1FB2-470F-949F-50B49770DA2D}" type="presParOf" srcId="{EE7654BC-160A-4BB8-82DF-015F35DD19CF}" destId="{1AB11F35-037B-43E4-8B20-A232449CAA47}" srcOrd="1" destOrd="0" presId="urn:microsoft.com/office/officeart/2018/2/layout/IconVerticalSolidList"/>
    <dgm:cxn modelId="{B0F39008-7905-4AFA-B046-BA6E4FB69B10}" type="presParOf" srcId="{EE7654BC-160A-4BB8-82DF-015F35DD19CF}" destId="{E36BEB40-4C12-48E7-B8E1-789B6C142A17}" srcOrd="2" destOrd="0" presId="urn:microsoft.com/office/officeart/2018/2/layout/IconVerticalSolidList"/>
    <dgm:cxn modelId="{9BDB645A-EB1E-405B-B6C7-B4E8287439AE}" type="presParOf" srcId="{EE7654BC-160A-4BB8-82DF-015F35DD19CF}" destId="{8F022A99-120C-4AA4-8CDB-5D14CBB4614D}" srcOrd="3" destOrd="0" presId="urn:microsoft.com/office/officeart/2018/2/layout/IconVerticalSolidList"/>
    <dgm:cxn modelId="{56B3B01F-8420-4A29-9580-D833140CB4C3}" type="presParOf" srcId="{4E17A901-A082-4C82-A8D0-96701E952F7E}" destId="{832C6D33-AFBF-473B-9BCB-9A91884B1EA2}" srcOrd="5" destOrd="0" presId="urn:microsoft.com/office/officeart/2018/2/layout/IconVerticalSolidList"/>
    <dgm:cxn modelId="{85BDC5EA-B4D5-4319-BBAA-07461B55C354}" type="presParOf" srcId="{4E17A901-A082-4C82-A8D0-96701E952F7E}" destId="{AB42389C-CAC5-4244-A654-FBA385D7727D}" srcOrd="6" destOrd="0" presId="urn:microsoft.com/office/officeart/2018/2/layout/IconVerticalSolidList"/>
    <dgm:cxn modelId="{D7127F83-30B6-499D-BDC7-C6D9250C0A73}" type="presParOf" srcId="{AB42389C-CAC5-4244-A654-FBA385D7727D}" destId="{D1CE2EB7-5C8B-41C9-9A9E-DAF3CE30444A}" srcOrd="0" destOrd="0" presId="urn:microsoft.com/office/officeart/2018/2/layout/IconVerticalSolidList"/>
    <dgm:cxn modelId="{DF538966-C6B5-4228-A17D-8DBC692CD519}" type="presParOf" srcId="{AB42389C-CAC5-4244-A654-FBA385D7727D}" destId="{3B6ED029-867A-4CEB-9E4F-22E1BEA137E5}" srcOrd="1" destOrd="0" presId="urn:microsoft.com/office/officeart/2018/2/layout/IconVerticalSolidList"/>
    <dgm:cxn modelId="{C9E28164-F1E5-4497-A2A6-D73A0E17626A}" type="presParOf" srcId="{AB42389C-CAC5-4244-A654-FBA385D7727D}" destId="{B715E816-98A4-47FA-9786-2F0EC7EB6E4D}" srcOrd="2" destOrd="0" presId="urn:microsoft.com/office/officeart/2018/2/layout/IconVerticalSolidList"/>
    <dgm:cxn modelId="{0869D478-3E3C-4C82-8572-47802430D080}" type="presParOf" srcId="{AB42389C-CAC5-4244-A654-FBA385D7727D}" destId="{EA781466-86E9-4F90-8BBF-5DE9A830D9A6}" srcOrd="3" destOrd="0" presId="urn:microsoft.com/office/officeart/2018/2/layout/IconVerticalSolidList"/>
    <dgm:cxn modelId="{6A6358E3-699A-4A8E-A060-C13680F7B4D2}" type="presParOf" srcId="{4E17A901-A082-4C82-A8D0-96701E952F7E}" destId="{1E1B3181-2007-4498-B5F6-BC064BF25800}" srcOrd="7" destOrd="0" presId="urn:microsoft.com/office/officeart/2018/2/layout/IconVerticalSolidList"/>
    <dgm:cxn modelId="{0CC8EDB6-1F59-42C0-8D8F-F8C8ECC1090A}" type="presParOf" srcId="{4E17A901-A082-4C82-A8D0-96701E952F7E}" destId="{C0A64741-92AF-4820-B694-3D8C876106DC}" srcOrd="8" destOrd="0" presId="urn:microsoft.com/office/officeart/2018/2/layout/IconVerticalSolidList"/>
    <dgm:cxn modelId="{291002C5-7B1F-431E-A5E0-BFEF6805A9BE}" type="presParOf" srcId="{C0A64741-92AF-4820-B694-3D8C876106DC}" destId="{6325ED0D-2D97-4788-9280-DDA302ADED2D}" srcOrd="0" destOrd="0" presId="urn:microsoft.com/office/officeart/2018/2/layout/IconVerticalSolidList"/>
    <dgm:cxn modelId="{97DB63A5-7A14-48DA-837A-200F00037ED9}" type="presParOf" srcId="{C0A64741-92AF-4820-B694-3D8C876106DC}" destId="{FD6A3461-CFC3-4866-B298-1FF8793FD4E4}" srcOrd="1" destOrd="0" presId="urn:microsoft.com/office/officeart/2018/2/layout/IconVerticalSolidList"/>
    <dgm:cxn modelId="{11FE3A32-3B3F-4BBA-AAD6-9B3F9965E413}" type="presParOf" srcId="{C0A64741-92AF-4820-B694-3D8C876106DC}" destId="{5BA7168D-3DE1-4567-9164-1CB82E40C64A}" srcOrd="2" destOrd="0" presId="urn:microsoft.com/office/officeart/2018/2/layout/IconVerticalSolidList"/>
    <dgm:cxn modelId="{C57AC77D-1062-49BF-9A2D-2491B91EDCD8}" type="presParOf" srcId="{C0A64741-92AF-4820-B694-3D8C876106DC}" destId="{5C3EB6CD-530D-41AB-8BEC-364D7E502BBE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1A96A324-C9E7-46FE-B7B5-EC562F534411}" type="doc">
      <dgm:prSet loTypeId="urn:microsoft.com/office/officeart/2005/8/layout/vProcess5" loCatId="process" qsTypeId="urn:microsoft.com/office/officeart/2005/8/quickstyle/simple5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B692FC17-EF49-479D-8BC8-099AE6668EC4}">
      <dgm:prSet/>
      <dgm:spPr/>
      <dgm:t>
        <a:bodyPr/>
        <a:lstStyle/>
        <a:p>
          <a:r>
            <a:rPr lang="en-IN"/>
            <a:t>Integrates with popular CI/CD pipelines including Jenkins, GitHub Actions, and Azure DevOps</a:t>
          </a:r>
          <a:endParaRPr lang="en-US"/>
        </a:p>
      </dgm:t>
    </dgm:pt>
    <dgm:pt modelId="{F0CCA3ED-A794-4A28-A3D4-F9DE8AB763B3}" type="parTrans" cxnId="{6C84A5A3-341F-4766-8A33-F405479794BB}">
      <dgm:prSet/>
      <dgm:spPr/>
      <dgm:t>
        <a:bodyPr/>
        <a:lstStyle/>
        <a:p>
          <a:endParaRPr lang="en-US"/>
        </a:p>
      </dgm:t>
    </dgm:pt>
    <dgm:pt modelId="{0B3E39A2-3450-4D4F-8D92-FECA3F5EA69F}" type="sibTrans" cxnId="{6C84A5A3-341F-4766-8A33-F405479794BB}">
      <dgm:prSet/>
      <dgm:spPr/>
      <dgm:t>
        <a:bodyPr/>
        <a:lstStyle/>
        <a:p>
          <a:endParaRPr lang="en-US"/>
        </a:p>
      </dgm:t>
    </dgm:pt>
    <dgm:pt modelId="{5119B606-8688-4B88-9728-920443EDF52E}">
      <dgm:prSet/>
      <dgm:spPr/>
      <dgm:t>
        <a:bodyPr/>
        <a:lstStyle/>
        <a:p>
          <a:r>
            <a:rPr lang="en-IN" dirty="0"/>
            <a:t>Supports orchestration tools like Airflow, Databricks Jobs, and Prefect for scheduling monitoring tasks</a:t>
          </a:r>
          <a:endParaRPr lang="en-US" dirty="0"/>
        </a:p>
      </dgm:t>
    </dgm:pt>
    <dgm:pt modelId="{70A834AA-9FF8-46B9-A1FE-E19F9335FBB1}" type="parTrans" cxnId="{883AA3B4-174F-44DC-8AC3-885EC4B0A3C4}">
      <dgm:prSet/>
      <dgm:spPr/>
      <dgm:t>
        <a:bodyPr/>
        <a:lstStyle/>
        <a:p>
          <a:endParaRPr lang="en-US"/>
        </a:p>
      </dgm:t>
    </dgm:pt>
    <dgm:pt modelId="{AB8617D2-EB9B-431A-850D-FE324D1199A9}" type="sibTrans" cxnId="{883AA3B4-174F-44DC-8AC3-885EC4B0A3C4}">
      <dgm:prSet/>
      <dgm:spPr/>
      <dgm:t>
        <a:bodyPr/>
        <a:lstStyle/>
        <a:p>
          <a:endParaRPr lang="en-US"/>
        </a:p>
      </dgm:t>
    </dgm:pt>
    <dgm:pt modelId="{5046438C-BFFB-420C-B75A-BE0453F6A87B}">
      <dgm:prSet/>
      <dgm:spPr/>
      <dgm:t>
        <a:bodyPr/>
        <a:lstStyle/>
        <a:p>
          <a:r>
            <a:rPr lang="en-IN"/>
            <a:t>Version control integration via MLflow ensures consistent experiment tracking and artifact management</a:t>
          </a:r>
          <a:endParaRPr lang="en-US"/>
        </a:p>
      </dgm:t>
    </dgm:pt>
    <dgm:pt modelId="{153F82D9-731C-48E4-8F2D-5B1BE193971D}" type="parTrans" cxnId="{41CF62FD-20E2-401A-9848-B9339B449F66}">
      <dgm:prSet/>
      <dgm:spPr/>
      <dgm:t>
        <a:bodyPr/>
        <a:lstStyle/>
        <a:p>
          <a:endParaRPr lang="en-US"/>
        </a:p>
      </dgm:t>
    </dgm:pt>
    <dgm:pt modelId="{736469BB-FEC4-43AE-A55C-7807D5432569}" type="sibTrans" cxnId="{41CF62FD-20E2-401A-9848-B9339B449F66}">
      <dgm:prSet/>
      <dgm:spPr/>
      <dgm:t>
        <a:bodyPr/>
        <a:lstStyle/>
        <a:p>
          <a:endParaRPr lang="en-US"/>
        </a:p>
      </dgm:t>
    </dgm:pt>
    <dgm:pt modelId="{719011AE-3FD0-451C-9B6E-739E7DCBD6EF}">
      <dgm:prSet/>
      <dgm:spPr/>
      <dgm:t>
        <a:bodyPr/>
        <a:lstStyle/>
        <a:p>
          <a:r>
            <a:rPr lang="en-IN"/>
            <a:t>Offers visualization through Evidently dashboards and Power BI plugins for insightful, interactive reporting</a:t>
          </a:r>
          <a:endParaRPr lang="en-US"/>
        </a:p>
      </dgm:t>
    </dgm:pt>
    <dgm:pt modelId="{3A43B270-B158-48C8-A74A-D9484F10DA8D}" type="parTrans" cxnId="{BAEE8F8B-BD36-4442-AEDB-2EB01E735199}">
      <dgm:prSet/>
      <dgm:spPr/>
      <dgm:t>
        <a:bodyPr/>
        <a:lstStyle/>
        <a:p>
          <a:endParaRPr lang="en-US"/>
        </a:p>
      </dgm:t>
    </dgm:pt>
    <dgm:pt modelId="{3ADB09C9-985D-4AC8-B589-CC84F5F7DB40}" type="sibTrans" cxnId="{BAEE8F8B-BD36-4442-AEDB-2EB01E735199}">
      <dgm:prSet/>
      <dgm:spPr/>
      <dgm:t>
        <a:bodyPr/>
        <a:lstStyle/>
        <a:p>
          <a:endParaRPr lang="en-US"/>
        </a:p>
      </dgm:t>
    </dgm:pt>
    <dgm:pt modelId="{5F050C33-8BB3-44D4-A704-EABB28F29507}">
      <dgm:prSet/>
      <dgm:spPr/>
      <dgm:t>
        <a:bodyPr/>
        <a:lstStyle/>
        <a:p>
          <a:r>
            <a:rPr lang="en-IN"/>
            <a:t>Ensures consistent, automated monitoring spanning from model training to production deployment</a:t>
          </a:r>
          <a:endParaRPr lang="en-US"/>
        </a:p>
      </dgm:t>
    </dgm:pt>
    <dgm:pt modelId="{830304BC-024B-42BD-BF9B-1D6350A3D8D8}" type="parTrans" cxnId="{79BFBE6B-0058-453F-BC13-CCA9D55D0FF6}">
      <dgm:prSet/>
      <dgm:spPr/>
      <dgm:t>
        <a:bodyPr/>
        <a:lstStyle/>
        <a:p>
          <a:endParaRPr lang="en-US"/>
        </a:p>
      </dgm:t>
    </dgm:pt>
    <dgm:pt modelId="{97101D59-637E-4099-A777-9CADD102E88B}" type="sibTrans" cxnId="{79BFBE6B-0058-453F-BC13-CCA9D55D0FF6}">
      <dgm:prSet/>
      <dgm:spPr/>
      <dgm:t>
        <a:bodyPr/>
        <a:lstStyle/>
        <a:p>
          <a:endParaRPr lang="en-US"/>
        </a:p>
      </dgm:t>
    </dgm:pt>
    <dgm:pt modelId="{16ED9F1B-72BC-42EC-A628-A796B7A448C0}" type="pres">
      <dgm:prSet presAssocID="{1A96A324-C9E7-46FE-B7B5-EC562F534411}" presName="outerComposite" presStyleCnt="0">
        <dgm:presLayoutVars>
          <dgm:chMax val="5"/>
          <dgm:dir/>
          <dgm:resizeHandles val="exact"/>
        </dgm:presLayoutVars>
      </dgm:prSet>
      <dgm:spPr/>
    </dgm:pt>
    <dgm:pt modelId="{552F2CFA-3B49-444B-8F4B-894B62D12F79}" type="pres">
      <dgm:prSet presAssocID="{1A96A324-C9E7-46FE-B7B5-EC562F534411}" presName="dummyMaxCanvas" presStyleCnt="0">
        <dgm:presLayoutVars/>
      </dgm:prSet>
      <dgm:spPr/>
    </dgm:pt>
    <dgm:pt modelId="{F5836551-68A0-4C6F-A73B-4963FA53EC67}" type="pres">
      <dgm:prSet presAssocID="{1A96A324-C9E7-46FE-B7B5-EC562F534411}" presName="FiveNodes_1" presStyleLbl="node1" presStyleIdx="0" presStyleCnt="5">
        <dgm:presLayoutVars>
          <dgm:bulletEnabled val="1"/>
        </dgm:presLayoutVars>
      </dgm:prSet>
      <dgm:spPr/>
    </dgm:pt>
    <dgm:pt modelId="{7BD0D2A5-0861-4A51-975A-A98515ED9269}" type="pres">
      <dgm:prSet presAssocID="{1A96A324-C9E7-46FE-B7B5-EC562F534411}" presName="FiveNodes_2" presStyleLbl="node1" presStyleIdx="1" presStyleCnt="5">
        <dgm:presLayoutVars>
          <dgm:bulletEnabled val="1"/>
        </dgm:presLayoutVars>
      </dgm:prSet>
      <dgm:spPr/>
    </dgm:pt>
    <dgm:pt modelId="{F32DFA8C-AB5F-48D6-9776-A72D4809D485}" type="pres">
      <dgm:prSet presAssocID="{1A96A324-C9E7-46FE-B7B5-EC562F534411}" presName="FiveNodes_3" presStyleLbl="node1" presStyleIdx="2" presStyleCnt="5">
        <dgm:presLayoutVars>
          <dgm:bulletEnabled val="1"/>
        </dgm:presLayoutVars>
      </dgm:prSet>
      <dgm:spPr/>
    </dgm:pt>
    <dgm:pt modelId="{478C8C7F-7DFA-4DB5-9358-0EC3BF59D45B}" type="pres">
      <dgm:prSet presAssocID="{1A96A324-C9E7-46FE-B7B5-EC562F534411}" presName="FiveNodes_4" presStyleLbl="node1" presStyleIdx="3" presStyleCnt="5">
        <dgm:presLayoutVars>
          <dgm:bulletEnabled val="1"/>
        </dgm:presLayoutVars>
      </dgm:prSet>
      <dgm:spPr/>
    </dgm:pt>
    <dgm:pt modelId="{677ED6C8-8F70-437D-95D4-A346C037B8BE}" type="pres">
      <dgm:prSet presAssocID="{1A96A324-C9E7-46FE-B7B5-EC562F534411}" presName="FiveNodes_5" presStyleLbl="node1" presStyleIdx="4" presStyleCnt="5">
        <dgm:presLayoutVars>
          <dgm:bulletEnabled val="1"/>
        </dgm:presLayoutVars>
      </dgm:prSet>
      <dgm:spPr/>
    </dgm:pt>
    <dgm:pt modelId="{66273AD7-B584-4F48-AEEB-B0EF32EBC674}" type="pres">
      <dgm:prSet presAssocID="{1A96A324-C9E7-46FE-B7B5-EC562F534411}" presName="FiveConn_1-2" presStyleLbl="fgAccFollowNode1" presStyleIdx="0" presStyleCnt="4">
        <dgm:presLayoutVars>
          <dgm:bulletEnabled val="1"/>
        </dgm:presLayoutVars>
      </dgm:prSet>
      <dgm:spPr/>
    </dgm:pt>
    <dgm:pt modelId="{DE06D5EE-0355-4C82-AE76-310C11CED252}" type="pres">
      <dgm:prSet presAssocID="{1A96A324-C9E7-46FE-B7B5-EC562F534411}" presName="FiveConn_2-3" presStyleLbl="fgAccFollowNode1" presStyleIdx="1" presStyleCnt="4">
        <dgm:presLayoutVars>
          <dgm:bulletEnabled val="1"/>
        </dgm:presLayoutVars>
      </dgm:prSet>
      <dgm:spPr/>
    </dgm:pt>
    <dgm:pt modelId="{D257B0F1-28D9-4440-93F3-6ABD38FCF1CB}" type="pres">
      <dgm:prSet presAssocID="{1A96A324-C9E7-46FE-B7B5-EC562F534411}" presName="FiveConn_3-4" presStyleLbl="fgAccFollowNode1" presStyleIdx="2" presStyleCnt="4">
        <dgm:presLayoutVars>
          <dgm:bulletEnabled val="1"/>
        </dgm:presLayoutVars>
      </dgm:prSet>
      <dgm:spPr/>
    </dgm:pt>
    <dgm:pt modelId="{9FCF7D8C-6FC0-480D-88FB-5F3CAB966877}" type="pres">
      <dgm:prSet presAssocID="{1A96A324-C9E7-46FE-B7B5-EC562F534411}" presName="FiveConn_4-5" presStyleLbl="fgAccFollowNode1" presStyleIdx="3" presStyleCnt="4">
        <dgm:presLayoutVars>
          <dgm:bulletEnabled val="1"/>
        </dgm:presLayoutVars>
      </dgm:prSet>
      <dgm:spPr/>
    </dgm:pt>
    <dgm:pt modelId="{DC86F885-513A-4149-A382-B78D9A76A033}" type="pres">
      <dgm:prSet presAssocID="{1A96A324-C9E7-46FE-B7B5-EC562F534411}" presName="FiveNodes_1_text" presStyleLbl="node1" presStyleIdx="4" presStyleCnt="5">
        <dgm:presLayoutVars>
          <dgm:bulletEnabled val="1"/>
        </dgm:presLayoutVars>
      </dgm:prSet>
      <dgm:spPr/>
    </dgm:pt>
    <dgm:pt modelId="{FC59C3A0-DB68-4535-8FFA-EC6125C69745}" type="pres">
      <dgm:prSet presAssocID="{1A96A324-C9E7-46FE-B7B5-EC562F534411}" presName="FiveNodes_2_text" presStyleLbl="node1" presStyleIdx="4" presStyleCnt="5">
        <dgm:presLayoutVars>
          <dgm:bulletEnabled val="1"/>
        </dgm:presLayoutVars>
      </dgm:prSet>
      <dgm:spPr/>
    </dgm:pt>
    <dgm:pt modelId="{87B419E5-4D86-48ED-A75F-896C22BCB17B}" type="pres">
      <dgm:prSet presAssocID="{1A96A324-C9E7-46FE-B7B5-EC562F534411}" presName="FiveNodes_3_text" presStyleLbl="node1" presStyleIdx="4" presStyleCnt="5">
        <dgm:presLayoutVars>
          <dgm:bulletEnabled val="1"/>
        </dgm:presLayoutVars>
      </dgm:prSet>
      <dgm:spPr/>
    </dgm:pt>
    <dgm:pt modelId="{A21CE82D-7836-402C-A7ED-353216E70701}" type="pres">
      <dgm:prSet presAssocID="{1A96A324-C9E7-46FE-B7B5-EC562F534411}" presName="FiveNodes_4_text" presStyleLbl="node1" presStyleIdx="4" presStyleCnt="5">
        <dgm:presLayoutVars>
          <dgm:bulletEnabled val="1"/>
        </dgm:presLayoutVars>
      </dgm:prSet>
      <dgm:spPr/>
    </dgm:pt>
    <dgm:pt modelId="{F76C272D-E746-4D9E-B21D-657A84EF686D}" type="pres">
      <dgm:prSet presAssocID="{1A96A324-C9E7-46FE-B7B5-EC562F534411}" presName="FiveNodes_5_text" presStyleLbl="node1" presStyleIdx="4" presStyleCnt="5">
        <dgm:presLayoutVars>
          <dgm:bulletEnabled val="1"/>
        </dgm:presLayoutVars>
      </dgm:prSet>
      <dgm:spPr/>
    </dgm:pt>
  </dgm:ptLst>
  <dgm:cxnLst>
    <dgm:cxn modelId="{A948261E-37F7-4DD9-8281-D0C9F03894F8}" type="presOf" srcId="{3ADB09C9-985D-4AC8-B589-CC84F5F7DB40}" destId="{9FCF7D8C-6FC0-480D-88FB-5F3CAB966877}" srcOrd="0" destOrd="0" presId="urn:microsoft.com/office/officeart/2005/8/layout/vProcess5"/>
    <dgm:cxn modelId="{80E4D224-057C-4E68-9333-72E58DB7CB5E}" type="presOf" srcId="{5119B606-8688-4B88-9728-920443EDF52E}" destId="{FC59C3A0-DB68-4535-8FFA-EC6125C69745}" srcOrd="1" destOrd="0" presId="urn:microsoft.com/office/officeart/2005/8/layout/vProcess5"/>
    <dgm:cxn modelId="{BABECF32-4932-459D-9665-4C83DA4296B8}" type="presOf" srcId="{5046438C-BFFB-420C-B75A-BE0453F6A87B}" destId="{87B419E5-4D86-48ED-A75F-896C22BCB17B}" srcOrd="1" destOrd="0" presId="urn:microsoft.com/office/officeart/2005/8/layout/vProcess5"/>
    <dgm:cxn modelId="{4A8E6236-A0FE-425D-8337-C8631BD90FC5}" type="presOf" srcId="{5F050C33-8BB3-44D4-A704-EABB28F29507}" destId="{F76C272D-E746-4D9E-B21D-657A84EF686D}" srcOrd="1" destOrd="0" presId="urn:microsoft.com/office/officeart/2005/8/layout/vProcess5"/>
    <dgm:cxn modelId="{E1765E40-D229-4CBA-8F46-1868A9995D37}" type="presOf" srcId="{B692FC17-EF49-479D-8BC8-099AE6668EC4}" destId="{DC86F885-513A-4149-A382-B78D9A76A033}" srcOrd="1" destOrd="0" presId="urn:microsoft.com/office/officeart/2005/8/layout/vProcess5"/>
    <dgm:cxn modelId="{79BFBE6B-0058-453F-BC13-CCA9D55D0FF6}" srcId="{1A96A324-C9E7-46FE-B7B5-EC562F534411}" destId="{5F050C33-8BB3-44D4-A704-EABB28F29507}" srcOrd="4" destOrd="0" parTransId="{830304BC-024B-42BD-BF9B-1D6350A3D8D8}" sibTransId="{97101D59-637E-4099-A777-9CADD102E88B}"/>
    <dgm:cxn modelId="{0699BD6C-252B-4CA0-8E25-A611E735821C}" type="presOf" srcId="{5046438C-BFFB-420C-B75A-BE0453F6A87B}" destId="{F32DFA8C-AB5F-48D6-9776-A72D4809D485}" srcOrd="0" destOrd="0" presId="urn:microsoft.com/office/officeart/2005/8/layout/vProcess5"/>
    <dgm:cxn modelId="{90DE6274-4CBA-4679-B4B1-CF2248CAE593}" type="presOf" srcId="{B692FC17-EF49-479D-8BC8-099AE6668EC4}" destId="{F5836551-68A0-4C6F-A73B-4963FA53EC67}" srcOrd="0" destOrd="0" presId="urn:microsoft.com/office/officeart/2005/8/layout/vProcess5"/>
    <dgm:cxn modelId="{E6B4F283-587A-4831-A40D-7CBBD892BD8B}" type="presOf" srcId="{719011AE-3FD0-451C-9B6E-739E7DCBD6EF}" destId="{478C8C7F-7DFA-4DB5-9358-0EC3BF59D45B}" srcOrd="0" destOrd="0" presId="urn:microsoft.com/office/officeart/2005/8/layout/vProcess5"/>
    <dgm:cxn modelId="{9A15D089-FF43-4D66-AC88-2B8CE423D326}" type="presOf" srcId="{1A96A324-C9E7-46FE-B7B5-EC562F534411}" destId="{16ED9F1B-72BC-42EC-A628-A796B7A448C0}" srcOrd="0" destOrd="0" presId="urn:microsoft.com/office/officeart/2005/8/layout/vProcess5"/>
    <dgm:cxn modelId="{BAEE8F8B-BD36-4442-AEDB-2EB01E735199}" srcId="{1A96A324-C9E7-46FE-B7B5-EC562F534411}" destId="{719011AE-3FD0-451C-9B6E-739E7DCBD6EF}" srcOrd="3" destOrd="0" parTransId="{3A43B270-B158-48C8-A74A-D9484F10DA8D}" sibTransId="{3ADB09C9-985D-4AC8-B589-CC84F5F7DB40}"/>
    <dgm:cxn modelId="{25055E95-9F6C-4BBC-8B20-8695F81E2DDF}" type="presOf" srcId="{5119B606-8688-4B88-9728-920443EDF52E}" destId="{7BD0D2A5-0861-4A51-975A-A98515ED9269}" srcOrd="0" destOrd="0" presId="urn:microsoft.com/office/officeart/2005/8/layout/vProcess5"/>
    <dgm:cxn modelId="{56F18C95-D7B6-4511-86A5-4BFDC24310C7}" type="presOf" srcId="{719011AE-3FD0-451C-9B6E-739E7DCBD6EF}" destId="{A21CE82D-7836-402C-A7ED-353216E70701}" srcOrd="1" destOrd="0" presId="urn:microsoft.com/office/officeart/2005/8/layout/vProcess5"/>
    <dgm:cxn modelId="{6C84A5A3-341F-4766-8A33-F405479794BB}" srcId="{1A96A324-C9E7-46FE-B7B5-EC562F534411}" destId="{B692FC17-EF49-479D-8BC8-099AE6668EC4}" srcOrd="0" destOrd="0" parTransId="{F0CCA3ED-A794-4A28-A3D4-F9DE8AB763B3}" sibTransId="{0B3E39A2-3450-4D4F-8D92-FECA3F5EA69F}"/>
    <dgm:cxn modelId="{883AA3B4-174F-44DC-8AC3-885EC4B0A3C4}" srcId="{1A96A324-C9E7-46FE-B7B5-EC562F534411}" destId="{5119B606-8688-4B88-9728-920443EDF52E}" srcOrd="1" destOrd="0" parTransId="{70A834AA-9FF8-46B9-A1FE-E19F9335FBB1}" sibTransId="{AB8617D2-EB9B-431A-850D-FE324D1199A9}"/>
    <dgm:cxn modelId="{870943D4-F78B-40C9-B13F-9398ADC52F76}" type="presOf" srcId="{5F050C33-8BB3-44D4-A704-EABB28F29507}" destId="{677ED6C8-8F70-437D-95D4-A346C037B8BE}" srcOrd="0" destOrd="0" presId="urn:microsoft.com/office/officeart/2005/8/layout/vProcess5"/>
    <dgm:cxn modelId="{F7C4C3DE-8627-46E1-A591-C7DF614D3083}" type="presOf" srcId="{0B3E39A2-3450-4D4F-8D92-FECA3F5EA69F}" destId="{66273AD7-B584-4F48-AEEB-B0EF32EBC674}" srcOrd="0" destOrd="0" presId="urn:microsoft.com/office/officeart/2005/8/layout/vProcess5"/>
    <dgm:cxn modelId="{91A937E3-9BC5-40C9-883F-B8116BC7A156}" type="presOf" srcId="{AB8617D2-EB9B-431A-850D-FE324D1199A9}" destId="{DE06D5EE-0355-4C82-AE76-310C11CED252}" srcOrd="0" destOrd="0" presId="urn:microsoft.com/office/officeart/2005/8/layout/vProcess5"/>
    <dgm:cxn modelId="{11E240E7-E94E-4BB3-B63C-5AD25267B17C}" type="presOf" srcId="{736469BB-FEC4-43AE-A55C-7807D5432569}" destId="{D257B0F1-28D9-4440-93F3-6ABD38FCF1CB}" srcOrd="0" destOrd="0" presId="urn:microsoft.com/office/officeart/2005/8/layout/vProcess5"/>
    <dgm:cxn modelId="{41CF62FD-20E2-401A-9848-B9339B449F66}" srcId="{1A96A324-C9E7-46FE-B7B5-EC562F534411}" destId="{5046438C-BFFB-420C-B75A-BE0453F6A87B}" srcOrd="2" destOrd="0" parTransId="{153F82D9-731C-48E4-8F2D-5B1BE193971D}" sibTransId="{736469BB-FEC4-43AE-A55C-7807D5432569}"/>
    <dgm:cxn modelId="{B99341DE-E3B9-4910-AC78-25B20623F728}" type="presParOf" srcId="{16ED9F1B-72BC-42EC-A628-A796B7A448C0}" destId="{552F2CFA-3B49-444B-8F4B-894B62D12F79}" srcOrd="0" destOrd="0" presId="urn:microsoft.com/office/officeart/2005/8/layout/vProcess5"/>
    <dgm:cxn modelId="{AB433C99-07EF-4A60-9742-86473E0E2672}" type="presParOf" srcId="{16ED9F1B-72BC-42EC-A628-A796B7A448C0}" destId="{F5836551-68A0-4C6F-A73B-4963FA53EC67}" srcOrd="1" destOrd="0" presId="urn:microsoft.com/office/officeart/2005/8/layout/vProcess5"/>
    <dgm:cxn modelId="{9B3F10F5-4C82-45FE-8ABB-2AB84018F17E}" type="presParOf" srcId="{16ED9F1B-72BC-42EC-A628-A796B7A448C0}" destId="{7BD0D2A5-0861-4A51-975A-A98515ED9269}" srcOrd="2" destOrd="0" presId="urn:microsoft.com/office/officeart/2005/8/layout/vProcess5"/>
    <dgm:cxn modelId="{EE38F7DF-87CE-41F8-BFE5-CBD233AF6999}" type="presParOf" srcId="{16ED9F1B-72BC-42EC-A628-A796B7A448C0}" destId="{F32DFA8C-AB5F-48D6-9776-A72D4809D485}" srcOrd="3" destOrd="0" presId="urn:microsoft.com/office/officeart/2005/8/layout/vProcess5"/>
    <dgm:cxn modelId="{FD4A6474-466E-4844-8B5F-938E7C8A783E}" type="presParOf" srcId="{16ED9F1B-72BC-42EC-A628-A796B7A448C0}" destId="{478C8C7F-7DFA-4DB5-9358-0EC3BF59D45B}" srcOrd="4" destOrd="0" presId="urn:microsoft.com/office/officeart/2005/8/layout/vProcess5"/>
    <dgm:cxn modelId="{4030EC24-B95F-41A6-9DC0-8B1E6C95AE37}" type="presParOf" srcId="{16ED9F1B-72BC-42EC-A628-A796B7A448C0}" destId="{677ED6C8-8F70-437D-95D4-A346C037B8BE}" srcOrd="5" destOrd="0" presId="urn:microsoft.com/office/officeart/2005/8/layout/vProcess5"/>
    <dgm:cxn modelId="{EAE3EAC6-3DCA-448F-B0F0-2BE9A46C117B}" type="presParOf" srcId="{16ED9F1B-72BC-42EC-A628-A796B7A448C0}" destId="{66273AD7-B584-4F48-AEEB-B0EF32EBC674}" srcOrd="6" destOrd="0" presId="urn:microsoft.com/office/officeart/2005/8/layout/vProcess5"/>
    <dgm:cxn modelId="{3836DE57-9206-433E-A52D-7DD426663FCF}" type="presParOf" srcId="{16ED9F1B-72BC-42EC-A628-A796B7A448C0}" destId="{DE06D5EE-0355-4C82-AE76-310C11CED252}" srcOrd="7" destOrd="0" presId="urn:microsoft.com/office/officeart/2005/8/layout/vProcess5"/>
    <dgm:cxn modelId="{7ED0A318-25E2-4A14-B0A5-81EA7DE4CF2C}" type="presParOf" srcId="{16ED9F1B-72BC-42EC-A628-A796B7A448C0}" destId="{D257B0F1-28D9-4440-93F3-6ABD38FCF1CB}" srcOrd="8" destOrd="0" presId="urn:microsoft.com/office/officeart/2005/8/layout/vProcess5"/>
    <dgm:cxn modelId="{D95F0B13-C340-4A6D-BC28-F176D3681B4F}" type="presParOf" srcId="{16ED9F1B-72BC-42EC-A628-A796B7A448C0}" destId="{9FCF7D8C-6FC0-480D-88FB-5F3CAB966877}" srcOrd="9" destOrd="0" presId="urn:microsoft.com/office/officeart/2005/8/layout/vProcess5"/>
    <dgm:cxn modelId="{4EAD6FCD-393B-403E-902F-48719DC587DD}" type="presParOf" srcId="{16ED9F1B-72BC-42EC-A628-A796B7A448C0}" destId="{DC86F885-513A-4149-A382-B78D9A76A033}" srcOrd="10" destOrd="0" presId="urn:microsoft.com/office/officeart/2005/8/layout/vProcess5"/>
    <dgm:cxn modelId="{FDEE571C-FCC5-42AF-829B-DAFDBED4CFC3}" type="presParOf" srcId="{16ED9F1B-72BC-42EC-A628-A796B7A448C0}" destId="{FC59C3A0-DB68-4535-8FFA-EC6125C69745}" srcOrd="11" destOrd="0" presId="urn:microsoft.com/office/officeart/2005/8/layout/vProcess5"/>
    <dgm:cxn modelId="{84D8E873-C579-4BA7-A3B2-8B773C77D6A0}" type="presParOf" srcId="{16ED9F1B-72BC-42EC-A628-A796B7A448C0}" destId="{87B419E5-4D86-48ED-A75F-896C22BCB17B}" srcOrd="12" destOrd="0" presId="urn:microsoft.com/office/officeart/2005/8/layout/vProcess5"/>
    <dgm:cxn modelId="{7B03F979-8067-44E1-B062-F792B0D799F5}" type="presParOf" srcId="{16ED9F1B-72BC-42EC-A628-A796B7A448C0}" destId="{A21CE82D-7836-402C-A7ED-353216E70701}" srcOrd="13" destOrd="0" presId="urn:microsoft.com/office/officeart/2005/8/layout/vProcess5"/>
    <dgm:cxn modelId="{639BC926-EA88-4671-A9D9-DEE247807BB0}" type="presParOf" srcId="{16ED9F1B-72BC-42EC-A628-A796B7A448C0}" destId="{F76C272D-E746-4D9E-B21D-657A84EF686D}" srcOrd="14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33E6C170-B0DB-407E-9340-A15AC09647BD}" type="doc">
      <dgm:prSet loTypeId="urn:microsoft.com/office/officeart/2018/5/layout/IconLeafLabelList" loCatId="icon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en-US"/>
        </a:p>
      </dgm:t>
    </dgm:pt>
    <dgm:pt modelId="{7C21B038-5F36-4C7B-93BC-104B2D2B0C79}">
      <dgm:prSet/>
      <dgm:spPr/>
      <dgm:t>
        <a:bodyPr/>
        <a:lstStyle/>
        <a:p>
          <a:pPr>
            <a:lnSpc>
              <a:spcPct val="100000"/>
            </a:lnSpc>
            <a:defRPr cap="all"/>
          </a:pPr>
          <a:r>
            <a:rPr lang="en-US"/>
            <a:t>End-to-end monitoring covering data drift, data quality, and model performance within a single platform</a:t>
          </a:r>
        </a:p>
      </dgm:t>
    </dgm:pt>
    <dgm:pt modelId="{3343ADBA-9C9F-4D44-AF04-C48C1E76A126}" type="parTrans" cxnId="{50D1C782-8AB7-4014-855B-31D20E510CE4}">
      <dgm:prSet/>
      <dgm:spPr/>
      <dgm:t>
        <a:bodyPr/>
        <a:lstStyle/>
        <a:p>
          <a:endParaRPr lang="en-US"/>
        </a:p>
      </dgm:t>
    </dgm:pt>
    <dgm:pt modelId="{C665CAD5-D57A-47B8-97DC-D6D507CB9D32}" type="sibTrans" cxnId="{50D1C782-8AB7-4014-855B-31D20E510CE4}">
      <dgm:prSet/>
      <dgm:spPr/>
      <dgm:t>
        <a:bodyPr/>
        <a:lstStyle/>
        <a:p>
          <a:endParaRPr lang="en-US"/>
        </a:p>
      </dgm:t>
    </dgm:pt>
    <dgm:pt modelId="{FDF76915-5DFA-4B6D-920E-5976863B3DB3}">
      <dgm:prSet/>
      <dgm:spPr/>
      <dgm:t>
        <a:bodyPr/>
        <a:lstStyle/>
        <a:p>
          <a:pPr>
            <a:lnSpc>
              <a:spcPct val="100000"/>
            </a:lnSpc>
            <a:defRPr cap="all"/>
          </a:pPr>
          <a:r>
            <a:rPr lang="en-US"/>
            <a:t>Platform-agnostic support enabling deployment on local, cloud, and Databricks environments</a:t>
          </a:r>
        </a:p>
      </dgm:t>
    </dgm:pt>
    <dgm:pt modelId="{35651059-8E84-4150-8853-8BCF2F7A7926}" type="parTrans" cxnId="{C63D100F-0FEA-4A8E-9AD0-36F8B498D425}">
      <dgm:prSet/>
      <dgm:spPr/>
      <dgm:t>
        <a:bodyPr/>
        <a:lstStyle/>
        <a:p>
          <a:endParaRPr lang="en-US"/>
        </a:p>
      </dgm:t>
    </dgm:pt>
    <dgm:pt modelId="{3C4083B4-1B87-47F2-AC51-90CAA280100E}" type="sibTrans" cxnId="{C63D100F-0FEA-4A8E-9AD0-36F8B498D425}">
      <dgm:prSet/>
      <dgm:spPr/>
      <dgm:t>
        <a:bodyPr/>
        <a:lstStyle/>
        <a:p>
          <a:endParaRPr lang="en-US"/>
        </a:p>
      </dgm:t>
    </dgm:pt>
    <dgm:pt modelId="{6F720C01-BEB9-4DE7-880F-1C4F22030F9F}">
      <dgm:prSet/>
      <dgm:spPr/>
      <dgm:t>
        <a:bodyPr/>
        <a:lstStyle/>
        <a:p>
          <a:pPr>
            <a:lnSpc>
              <a:spcPct val="100000"/>
            </a:lnSpc>
            <a:defRPr cap="all"/>
          </a:pPr>
          <a:r>
            <a:rPr lang="en-US"/>
            <a:t>Configurable thresholds that enable governance and alerting without requiring code changes</a:t>
          </a:r>
        </a:p>
      </dgm:t>
    </dgm:pt>
    <dgm:pt modelId="{73024482-3165-4990-9D4C-84493A7875F7}" type="parTrans" cxnId="{AFBB9B8E-A6F2-4766-92D3-BE484713B518}">
      <dgm:prSet/>
      <dgm:spPr/>
      <dgm:t>
        <a:bodyPr/>
        <a:lstStyle/>
        <a:p>
          <a:endParaRPr lang="en-US"/>
        </a:p>
      </dgm:t>
    </dgm:pt>
    <dgm:pt modelId="{63AC70F0-9F73-4B38-9F7E-65383A475305}" type="sibTrans" cxnId="{AFBB9B8E-A6F2-4766-92D3-BE484713B518}">
      <dgm:prSet/>
      <dgm:spPr/>
      <dgm:t>
        <a:bodyPr/>
        <a:lstStyle/>
        <a:p>
          <a:endParaRPr lang="en-US"/>
        </a:p>
      </dgm:t>
    </dgm:pt>
    <dgm:pt modelId="{FADB4B32-1CE9-4DA1-B33F-A228E534F26D}">
      <dgm:prSet/>
      <dgm:spPr/>
      <dgm:t>
        <a:bodyPr/>
        <a:lstStyle/>
        <a:p>
          <a:pPr>
            <a:lnSpc>
              <a:spcPct val="100000"/>
            </a:lnSpc>
            <a:defRPr cap="all"/>
          </a:pPr>
          <a:r>
            <a:rPr lang="en-US"/>
            <a:t>SHAP-based explainability to enhance model transparency and interpretability</a:t>
          </a:r>
        </a:p>
      </dgm:t>
    </dgm:pt>
    <dgm:pt modelId="{E5386C44-7DC9-4978-A261-6A6023AEB0D6}" type="parTrans" cxnId="{47BF5AD4-DFD4-43CF-831C-103480192787}">
      <dgm:prSet/>
      <dgm:spPr/>
      <dgm:t>
        <a:bodyPr/>
        <a:lstStyle/>
        <a:p>
          <a:endParaRPr lang="en-US"/>
        </a:p>
      </dgm:t>
    </dgm:pt>
    <dgm:pt modelId="{0C445BFF-2EED-4209-B089-1988745E1DE7}" type="sibTrans" cxnId="{47BF5AD4-DFD4-43CF-831C-103480192787}">
      <dgm:prSet/>
      <dgm:spPr/>
      <dgm:t>
        <a:bodyPr/>
        <a:lstStyle/>
        <a:p>
          <a:endParaRPr lang="en-US"/>
        </a:p>
      </dgm:t>
    </dgm:pt>
    <dgm:pt modelId="{0FDF8460-9687-4F82-86F8-93A5F5303E64}">
      <dgm:prSet/>
      <dgm:spPr/>
      <dgm:t>
        <a:bodyPr/>
        <a:lstStyle/>
        <a:p>
          <a:pPr>
            <a:lnSpc>
              <a:spcPct val="100000"/>
            </a:lnSpc>
            <a:defRPr cap="all"/>
          </a:pPr>
          <a:r>
            <a:rPr lang="en-US"/>
            <a:t>Automated export features centralizing reporting and easing compliance workflows</a:t>
          </a:r>
        </a:p>
      </dgm:t>
    </dgm:pt>
    <dgm:pt modelId="{E3BE22B4-AAA3-4862-9F18-D8921976B60F}" type="parTrans" cxnId="{14756506-CF97-44D8-996E-BD08BE480F0F}">
      <dgm:prSet/>
      <dgm:spPr/>
      <dgm:t>
        <a:bodyPr/>
        <a:lstStyle/>
        <a:p>
          <a:endParaRPr lang="en-US"/>
        </a:p>
      </dgm:t>
    </dgm:pt>
    <dgm:pt modelId="{3E44606A-BE38-4F0A-8A7D-0EA78C08A5FE}" type="sibTrans" cxnId="{14756506-CF97-44D8-996E-BD08BE480F0F}">
      <dgm:prSet/>
      <dgm:spPr/>
      <dgm:t>
        <a:bodyPr/>
        <a:lstStyle/>
        <a:p>
          <a:endParaRPr lang="en-US"/>
        </a:p>
      </dgm:t>
    </dgm:pt>
    <dgm:pt modelId="{246DCBEC-2173-4105-87B2-4CE02356BDF6}">
      <dgm:prSet/>
      <dgm:spPr/>
      <dgm:t>
        <a:bodyPr/>
        <a:lstStyle/>
        <a:p>
          <a:pPr>
            <a:lnSpc>
              <a:spcPct val="100000"/>
            </a:lnSpc>
            <a:defRPr cap="all"/>
          </a:pPr>
          <a:r>
            <a:rPr lang="en-US"/>
            <a:t>Lightweight SDK design facilitating seamless integration into existing ML pipelines</a:t>
          </a:r>
        </a:p>
      </dgm:t>
    </dgm:pt>
    <dgm:pt modelId="{C0DDD6F6-6F4E-4FC1-887B-20AC1503422B}" type="parTrans" cxnId="{FF67AD0B-3F69-4A69-869E-3407F637C2C0}">
      <dgm:prSet/>
      <dgm:spPr/>
      <dgm:t>
        <a:bodyPr/>
        <a:lstStyle/>
        <a:p>
          <a:endParaRPr lang="en-US"/>
        </a:p>
      </dgm:t>
    </dgm:pt>
    <dgm:pt modelId="{7921D1BF-BA30-4142-BC10-D6A0391D7334}" type="sibTrans" cxnId="{FF67AD0B-3F69-4A69-869E-3407F637C2C0}">
      <dgm:prSet/>
      <dgm:spPr/>
      <dgm:t>
        <a:bodyPr/>
        <a:lstStyle/>
        <a:p>
          <a:endParaRPr lang="en-US"/>
        </a:p>
      </dgm:t>
    </dgm:pt>
    <dgm:pt modelId="{8364985D-9219-4A2F-9539-034EC7360868}">
      <dgm:prSet/>
      <dgm:spPr/>
      <dgm:t>
        <a:bodyPr/>
        <a:lstStyle/>
        <a:p>
          <a:pPr>
            <a:lnSpc>
              <a:spcPct val="100000"/>
            </a:lnSpc>
            <a:defRPr cap="all"/>
          </a:pPr>
          <a:r>
            <a:rPr lang="en-US"/>
            <a:t>Audit trail maintenance critical for compliance and traceability</a:t>
          </a:r>
        </a:p>
      </dgm:t>
    </dgm:pt>
    <dgm:pt modelId="{6C19A123-335A-480E-ADB1-A6D6C08D3C7A}" type="parTrans" cxnId="{EE8BD77E-DC4A-42A3-8B4E-BA4F15DE8777}">
      <dgm:prSet/>
      <dgm:spPr/>
      <dgm:t>
        <a:bodyPr/>
        <a:lstStyle/>
        <a:p>
          <a:endParaRPr lang="en-US"/>
        </a:p>
      </dgm:t>
    </dgm:pt>
    <dgm:pt modelId="{6C0EE507-CE5E-4882-959D-58D7FDD1AA98}" type="sibTrans" cxnId="{EE8BD77E-DC4A-42A3-8B4E-BA4F15DE8777}">
      <dgm:prSet/>
      <dgm:spPr/>
      <dgm:t>
        <a:bodyPr/>
        <a:lstStyle/>
        <a:p>
          <a:endParaRPr lang="en-US"/>
        </a:p>
      </dgm:t>
    </dgm:pt>
    <dgm:pt modelId="{575A7CAA-A515-4A50-87B1-DE404D245A52}">
      <dgm:prSet/>
      <dgm:spPr/>
      <dgm:t>
        <a:bodyPr/>
        <a:lstStyle/>
        <a:p>
          <a:pPr>
            <a:lnSpc>
              <a:spcPct val="100000"/>
            </a:lnSpc>
            <a:defRPr cap="all"/>
          </a:pPr>
          <a:r>
            <a:rPr lang="en-US" dirty="0"/>
            <a:t>Extensibility allowing addition of new drift tests or quality metrics to meet evolving needs</a:t>
          </a:r>
        </a:p>
      </dgm:t>
    </dgm:pt>
    <dgm:pt modelId="{0E14A901-9EEA-4523-ABE4-6DE21CC654D2}" type="parTrans" cxnId="{BB29B9B4-01EC-49C2-9855-7E59778A1318}">
      <dgm:prSet/>
      <dgm:spPr/>
      <dgm:t>
        <a:bodyPr/>
        <a:lstStyle/>
        <a:p>
          <a:endParaRPr lang="en-US"/>
        </a:p>
      </dgm:t>
    </dgm:pt>
    <dgm:pt modelId="{A7FE8D47-41D3-4371-A964-0734F0479856}" type="sibTrans" cxnId="{BB29B9B4-01EC-49C2-9855-7E59778A1318}">
      <dgm:prSet/>
      <dgm:spPr/>
      <dgm:t>
        <a:bodyPr/>
        <a:lstStyle/>
        <a:p>
          <a:endParaRPr lang="en-US"/>
        </a:p>
      </dgm:t>
    </dgm:pt>
    <dgm:pt modelId="{52C8DC11-0E54-44B4-AF8B-9B4BDB349207}" type="pres">
      <dgm:prSet presAssocID="{33E6C170-B0DB-407E-9340-A15AC09647BD}" presName="root" presStyleCnt="0">
        <dgm:presLayoutVars>
          <dgm:dir/>
          <dgm:resizeHandles val="exact"/>
        </dgm:presLayoutVars>
      </dgm:prSet>
      <dgm:spPr/>
    </dgm:pt>
    <dgm:pt modelId="{2ED51630-BC28-4E49-A476-C7479D417D88}" type="pres">
      <dgm:prSet presAssocID="{7C21B038-5F36-4C7B-93BC-104B2D2B0C79}" presName="compNode" presStyleCnt="0"/>
      <dgm:spPr/>
    </dgm:pt>
    <dgm:pt modelId="{0946737C-FA20-4AD8-B6E9-EF36834C40E1}" type="pres">
      <dgm:prSet presAssocID="{7C21B038-5F36-4C7B-93BC-104B2D2B0C79}" presName="iconBgRect" presStyleLbl="bgShp" presStyleIdx="0" presStyleCnt="8"/>
      <dgm:spPr>
        <a:prstGeom prst="round2DiagRect">
          <a:avLst>
            <a:gd name="adj1" fmla="val 29727"/>
            <a:gd name="adj2" fmla="val 0"/>
          </a:avLst>
        </a:prstGeom>
      </dgm:spPr>
    </dgm:pt>
    <dgm:pt modelId="{14E9E855-BB35-45E8-90C0-FACDC4A56946}" type="pres">
      <dgm:prSet presAssocID="{7C21B038-5F36-4C7B-93BC-104B2D2B0C79}" presName="iconRect" presStyleLbl="node1" presStyleIdx="0" presStyleCnt="8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Processor"/>
        </a:ext>
      </dgm:extLst>
    </dgm:pt>
    <dgm:pt modelId="{E957D6E3-43C3-4ECE-89B2-897E97CB001D}" type="pres">
      <dgm:prSet presAssocID="{7C21B038-5F36-4C7B-93BC-104B2D2B0C79}" presName="spaceRect" presStyleCnt="0"/>
      <dgm:spPr/>
    </dgm:pt>
    <dgm:pt modelId="{4BE1CCAE-13FB-4541-8220-01D212D3D402}" type="pres">
      <dgm:prSet presAssocID="{7C21B038-5F36-4C7B-93BC-104B2D2B0C79}" presName="textRect" presStyleLbl="revTx" presStyleIdx="0" presStyleCnt="8">
        <dgm:presLayoutVars>
          <dgm:chMax val="1"/>
          <dgm:chPref val="1"/>
        </dgm:presLayoutVars>
      </dgm:prSet>
      <dgm:spPr/>
    </dgm:pt>
    <dgm:pt modelId="{48E3B64F-670B-4B02-A506-BF2C3495E4CB}" type="pres">
      <dgm:prSet presAssocID="{C665CAD5-D57A-47B8-97DC-D6D507CB9D32}" presName="sibTrans" presStyleCnt="0"/>
      <dgm:spPr/>
    </dgm:pt>
    <dgm:pt modelId="{8B2EC7DE-E2EB-418E-8D70-728FC46A070F}" type="pres">
      <dgm:prSet presAssocID="{FDF76915-5DFA-4B6D-920E-5976863B3DB3}" presName="compNode" presStyleCnt="0"/>
      <dgm:spPr/>
    </dgm:pt>
    <dgm:pt modelId="{8C3342A7-B412-4C34-BF4D-A1C750A041A3}" type="pres">
      <dgm:prSet presAssocID="{FDF76915-5DFA-4B6D-920E-5976863B3DB3}" presName="iconBgRect" presStyleLbl="bgShp" presStyleIdx="1" presStyleCnt="8"/>
      <dgm:spPr>
        <a:prstGeom prst="round2DiagRect">
          <a:avLst>
            <a:gd name="adj1" fmla="val 29727"/>
            <a:gd name="adj2" fmla="val 0"/>
          </a:avLst>
        </a:prstGeom>
      </dgm:spPr>
    </dgm:pt>
    <dgm:pt modelId="{32446957-E2A7-4A86-8003-60B867ABB92D}" type="pres">
      <dgm:prSet presAssocID="{FDF76915-5DFA-4B6D-920E-5976863B3DB3}" presName="iconRect" presStyleLbl="node1" presStyleIdx="1" presStyleCnt="8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loud Computing"/>
        </a:ext>
      </dgm:extLst>
    </dgm:pt>
    <dgm:pt modelId="{EBD050C0-E107-4C07-8242-F223560FF263}" type="pres">
      <dgm:prSet presAssocID="{FDF76915-5DFA-4B6D-920E-5976863B3DB3}" presName="spaceRect" presStyleCnt="0"/>
      <dgm:spPr/>
    </dgm:pt>
    <dgm:pt modelId="{A807E5CD-92C3-45AD-B3B1-D8996FB621B2}" type="pres">
      <dgm:prSet presAssocID="{FDF76915-5DFA-4B6D-920E-5976863B3DB3}" presName="textRect" presStyleLbl="revTx" presStyleIdx="1" presStyleCnt="8">
        <dgm:presLayoutVars>
          <dgm:chMax val="1"/>
          <dgm:chPref val="1"/>
        </dgm:presLayoutVars>
      </dgm:prSet>
      <dgm:spPr/>
    </dgm:pt>
    <dgm:pt modelId="{FC72C80A-0075-4F12-A058-FECA6644C5A7}" type="pres">
      <dgm:prSet presAssocID="{3C4083B4-1B87-47F2-AC51-90CAA280100E}" presName="sibTrans" presStyleCnt="0"/>
      <dgm:spPr/>
    </dgm:pt>
    <dgm:pt modelId="{A6E9E4E7-7FC7-4E92-AA27-B078DCB51EA2}" type="pres">
      <dgm:prSet presAssocID="{6F720C01-BEB9-4DE7-880F-1C4F22030F9F}" presName="compNode" presStyleCnt="0"/>
      <dgm:spPr/>
    </dgm:pt>
    <dgm:pt modelId="{3565B2CC-C309-4662-BE64-A409C52A96C9}" type="pres">
      <dgm:prSet presAssocID="{6F720C01-BEB9-4DE7-880F-1C4F22030F9F}" presName="iconBgRect" presStyleLbl="bgShp" presStyleIdx="2" presStyleCnt="8"/>
      <dgm:spPr>
        <a:prstGeom prst="round2DiagRect">
          <a:avLst>
            <a:gd name="adj1" fmla="val 29727"/>
            <a:gd name="adj2" fmla="val 0"/>
          </a:avLst>
        </a:prstGeom>
      </dgm:spPr>
    </dgm:pt>
    <dgm:pt modelId="{0DE3E329-9F91-487E-B0DE-3A659630B605}" type="pres">
      <dgm:prSet presAssocID="{6F720C01-BEB9-4DE7-880F-1C4F22030F9F}" presName="iconRect" presStyleLbl="node1" presStyleIdx="2" presStyleCnt="8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Warning"/>
        </a:ext>
      </dgm:extLst>
    </dgm:pt>
    <dgm:pt modelId="{66F0C470-48BA-4E5E-BAF9-8324DE1B053B}" type="pres">
      <dgm:prSet presAssocID="{6F720C01-BEB9-4DE7-880F-1C4F22030F9F}" presName="spaceRect" presStyleCnt="0"/>
      <dgm:spPr/>
    </dgm:pt>
    <dgm:pt modelId="{0C35A221-8828-4D19-88F2-670A1FF1068A}" type="pres">
      <dgm:prSet presAssocID="{6F720C01-BEB9-4DE7-880F-1C4F22030F9F}" presName="textRect" presStyleLbl="revTx" presStyleIdx="2" presStyleCnt="8">
        <dgm:presLayoutVars>
          <dgm:chMax val="1"/>
          <dgm:chPref val="1"/>
        </dgm:presLayoutVars>
      </dgm:prSet>
      <dgm:spPr/>
    </dgm:pt>
    <dgm:pt modelId="{20E55700-8D96-435E-8A33-614F30FBAD1E}" type="pres">
      <dgm:prSet presAssocID="{63AC70F0-9F73-4B38-9F7E-65383A475305}" presName="sibTrans" presStyleCnt="0"/>
      <dgm:spPr/>
    </dgm:pt>
    <dgm:pt modelId="{C700956A-B28C-4C6E-9425-5432CC880895}" type="pres">
      <dgm:prSet presAssocID="{FADB4B32-1CE9-4DA1-B33F-A228E534F26D}" presName="compNode" presStyleCnt="0"/>
      <dgm:spPr/>
    </dgm:pt>
    <dgm:pt modelId="{A880F5A9-4F47-4BE1-8FA8-8F978A41F7AE}" type="pres">
      <dgm:prSet presAssocID="{FADB4B32-1CE9-4DA1-B33F-A228E534F26D}" presName="iconBgRect" presStyleLbl="bgShp" presStyleIdx="3" presStyleCnt="8"/>
      <dgm:spPr>
        <a:prstGeom prst="round2DiagRect">
          <a:avLst>
            <a:gd name="adj1" fmla="val 29727"/>
            <a:gd name="adj2" fmla="val 0"/>
          </a:avLst>
        </a:prstGeom>
      </dgm:spPr>
    </dgm:pt>
    <dgm:pt modelId="{8FCED335-F0A7-4AA1-9934-649A0C82B379}" type="pres">
      <dgm:prSet presAssocID="{FADB4B32-1CE9-4DA1-B33F-A228E534F26D}" presName="iconRect" presStyleLbl="node1" presStyleIdx="3" presStyleCnt="8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ar chart"/>
        </a:ext>
      </dgm:extLst>
    </dgm:pt>
    <dgm:pt modelId="{E6AA7F62-95CF-4DF6-BECA-5A6FDF2C4676}" type="pres">
      <dgm:prSet presAssocID="{FADB4B32-1CE9-4DA1-B33F-A228E534F26D}" presName="spaceRect" presStyleCnt="0"/>
      <dgm:spPr/>
    </dgm:pt>
    <dgm:pt modelId="{6F8543D8-1B6C-47C3-A5CB-45CF872076A8}" type="pres">
      <dgm:prSet presAssocID="{FADB4B32-1CE9-4DA1-B33F-A228E534F26D}" presName="textRect" presStyleLbl="revTx" presStyleIdx="3" presStyleCnt="8">
        <dgm:presLayoutVars>
          <dgm:chMax val="1"/>
          <dgm:chPref val="1"/>
        </dgm:presLayoutVars>
      </dgm:prSet>
      <dgm:spPr/>
    </dgm:pt>
    <dgm:pt modelId="{B99A492D-666B-415F-BD96-CEC8E4251CD6}" type="pres">
      <dgm:prSet presAssocID="{0C445BFF-2EED-4209-B089-1988745E1DE7}" presName="sibTrans" presStyleCnt="0"/>
      <dgm:spPr/>
    </dgm:pt>
    <dgm:pt modelId="{CB65A9CB-AC88-4576-ABE7-90271118A8B7}" type="pres">
      <dgm:prSet presAssocID="{0FDF8460-9687-4F82-86F8-93A5F5303E64}" presName="compNode" presStyleCnt="0"/>
      <dgm:spPr/>
    </dgm:pt>
    <dgm:pt modelId="{C3BA8A0C-0ECC-46D5-8918-8BD9344B2065}" type="pres">
      <dgm:prSet presAssocID="{0FDF8460-9687-4F82-86F8-93A5F5303E64}" presName="iconBgRect" presStyleLbl="bgShp" presStyleIdx="4" presStyleCnt="8"/>
      <dgm:spPr>
        <a:prstGeom prst="round2DiagRect">
          <a:avLst>
            <a:gd name="adj1" fmla="val 29727"/>
            <a:gd name="adj2" fmla="val 0"/>
          </a:avLst>
        </a:prstGeom>
      </dgm:spPr>
    </dgm:pt>
    <dgm:pt modelId="{1F431D87-1FF3-483E-88BF-AF5017B2BCE7}" type="pres">
      <dgm:prSet presAssocID="{0FDF8460-9687-4F82-86F8-93A5F5303E64}" presName="iconRect" presStyleLbl="node1" presStyleIdx="4" presStyleCnt="8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Gears"/>
        </a:ext>
      </dgm:extLst>
    </dgm:pt>
    <dgm:pt modelId="{EED6A549-6252-4342-BBB4-24C4C28FD5F6}" type="pres">
      <dgm:prSet presAssocID="{0FDF8460-9687-4F82-86F8-93A5F5303E64}" presName="spaceRect" presStyleCnt="0"/>
      <dgm:spPr/>
    </dgm:pt>
    <dgm:pt modelId="{08114ECC-4BD1-4AA3-97F2-817F78A1D5F9}" type="pres">
      <dgm:prSet presAssocID="{0FDF8460-9687-4F82-86F8-93A5F5303E64}" presName="textRect" presStyleLbl="revTx" presStyleIdx="4" presStyleCnt="8">
        <dgm:presLayoutVars>
          <dgm:chMax val="1"/>
          <dgm:chPref val="1"/>
        </dgm:presLayoutVars>
      </dgm:prSet>
      <dgm:spPr/>
    </dgm:pt>
    <dgm:pt modelId="{2A2675EF-1005-40E5-9142-583F1D792A39}" type="pres">
      <dgm:prSet presAssocID="{3E44606A-BE38-4F0A-8A7D-0EA78C08A5FE}" presName="sibTrans" presStyleCnt="0"/>
      <dgm:spPr/>
    </dgm:pt>
    <dgm:pt modelId="{1470817F-1766-4CF6-BAB9-BA38D0C1E7B7}" type="pres">
      <dgm:prSet presAssocID="{246DCBEC-2173-4105-87B2-4CE02356BDF6}" presName="compNode" presStyleCnt="0"/>
      <dgm:spPr/>
    </dgm:pt>
    <dgm:pt modelId="{FCE0E4E6-7070-4AE4-B37C-0B7F48054838}" type="pres">
      <dgm:prSet presAssocID="{246DCBEC-2173-4105-87B2-4CE02356BDF6}" presName="iconBgRect" presStyleLbl="bgShp" presStyleIdx="5" presStyleCnt="8"/>
      <dgm:spPr>
        <a:prstGeom prst="round2DiagRect">
          <a:avLst>
            <a:gd name="adj1" fmla="val 29727"/>
            <a:gd name="adj2" fmla="val 0"/>
          </a:avLst>
        </a:prstGeom>
      </dgm:spPr>
    </dgm:pt>
    <dgm:pt modelId="{0AB707C8-AD0D-476E-8DB4-158755EEBBFF}" type="pres">
      <dgm:prSet presAssocID="{246DCBEC-2173-4105-87B2-4CE02356BDF6}" presName="iconRect" presStyleLbl="node1" presStyleIdx="5" presStyleCnt="8"/>
      <dgm:spPr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atabase"/>
        </a:ext>
      </dgm:extLst>
    </dgm:pt>
    <dgm:pt modelId="{EF18788C-3D0A-4C74-AA22-EB7D80A11A49}" type="pres">
      <dgm:prSet presAssocID="{246DCBEC-2173-4105-87B2-4CE02356BDF6}" presName="spaceRect" presStyleCnt="0"/>
      <dgm:spPr/>
    </dgm:pt>
    <dgm:pt modelId="{6D37C7F8-644B-466C-A52B-E282647AB696}" type="pres">
      <dgm:prSet presAssocID="{246DCBEC-2173-4105-87B2-4CE02356BDF6}" presName="textRect" presStyleLbl="revTx" presStyleIdx="5" presStyleCnt="8">
        <dgm:presLayoutVars>
          <dgm:chMax val="1"/>
          <dgm:chPref val="1"/>
        </dgm:presLayoutVars>
      </dgm:prSet>
      <dgm:spPr/>
    </dgm:pt>
    <dgm:pt modelId="{FB2DFFEC-7B0C-4BEB-967E-022EC55688C9}" type="pres">
      <dgm:prSet presAssocID="{7921D1BF-BA30-4142-BC10-D6A0391D7334}" presName="sibTrans" presStyleCnt="0"/>
      <dgm:spPr/>
    </dgm:pt>
    <dgm:pt modelId="{B1E91940-27EC-4411-AE04-6C441C045B83}" type="pres">
      <dgm:prSet presAssocID="{8364985D-9219-4A2F-9539-034EC7360868}" presName="compNode" presStyleCnt="0"/>
      <dgm:spPr/>
    </dgm:pt>
    <dgm:pt modelId="{616EC433-ADA1-4A6F-BA38-5D7F4353424A}" type="pres">
      <dgm:prSet presAssocID="{8364985D-9219-4A2F-9539-034EC7360868}" presName="iconBgRect" presStyleLbl="bgShp" presStyleIdx="6" presStyleCnt="8"/>
      <dgm:spPr>
        <a:prstGeom prst="round2DiagRect">
          <a:avLst>
            <a:gd name="adj1" fmla="val 29727"/>
            <a:gd name="adj2" fmla="val 0"/>
          </a:avLst>
        </a:prstGeom>
      </dgm:spPr>
    </dgm:pt>
    <dgm:pt modelId="{FDB7C937-59AB-4DD6-95D1-BCE54C8715E2}" type="pres">
      <dgm:prSet presAssocID="{8364985D-9219-4A2F-9539-034EC7360868}" presName="iconRect" presStyleLbl="node1" presStyleIdx="6" presStyleCnt="8"/>
      <dgm:spPr>
        <a:blipFill>
          <a:blip xmlns:r="http://schemas.openxmlformats.org/officeDocument/2006/relationships"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agnifying glass"/>
        </a:ext>
      </dgm:extLst>
    </dgm:pt>
    <dgm:pt modelId="{281608A3-8EF4-4296-AC5B-D56F5A83A648}" type="pres">
      <dgm:prSet presAssocID="{8364985D-9219-4A2F-9539-034EC7360868}" presName="spaceRect" presStyleCnt="0"/>
      <dgm:spPr/>
    </dgm:pt>
    <dgm:pt modelId="{B6CFB195-79A6-4DDA-A219-7058DD3524AC}" type="pres">
      <dgm:prSet presAssocID="{8364985D-9219-4A2F-9539-034EC7360868}" presName="textRect" presStyleLbl="revTx" presStyleIdx="6" presStyleCnt="8">
        <dgm:presLayoutVars>
          <dgm:chMax val="1"/>
          <dgm:chPref val="1"/>
        </dgm:presLayoutVars>
      </dgm:prSet>
      <dgm:spPr/>
    </dgm:pt>
    <dgm:pt modelId="{73BC6AE1-B3A2-4356-ABB7-5E400C12756D}" type="pres">
      <dgm:prSet presAssocID="{6C0EE507-CE5E-4882-959D-58D7FDD1AA98}" presName="sibTrans" presStyleCnt="0"/>
      <dgm:spPr/>
    </dgm:pt>
    <dgm:pt modelId="{75E67AF4-AE73-4DDB-A77B-F2532EAF7222}" type="pres">
      <dgm:prSet presAssocID="{575A7CAA-A515-4A50-87B1-DE404D245A52}" presName="compNode" presStyleCnt="0"/>
      <dgm:spPr/>
    </dgm:pt>
    <dgm:pt modelId="{4983DE65-F326-469D-86A2-B644DB396935}" type="pres">
      <dgm:prSet presAssocID="{575A7CAA-A515-4A50-87B1-DE404D245A52}" presName="iconBgRect" presStyleLbl="bgShp" presStyleIdx="7" presStyleCnt="8" custLinFactNeighborX="-306" custLinFactNeighborY="-483"/>
      <dgm:spPr>
        <a:prstGeom prst="round2DiagRect">
          <a:avLst>
            <a:gd name="adj1" fmla="val 29727"/>
            <a:gd name="adj2" fmla="val 0"/>
          </a:avLst>
        </a:prstGeom>
      </dgm:spPr>
    </dgm:pt>
    <dgm:pt modelId="{AD446D09-0080-409F-9BD4-44CE6AD4E8A8}" type="pres">
      <dgm:prSet presAssocID="{575A7CAA-A515-4A50-87B1-DE404D245A52}" presName="iconRect" presStyleLbl="node1" presStyleIdx="7" presStyleCnt="8"/>
      <dgm:spPr>
        <a:blipFill>
          <a:blip xmlns:r="http://schemas.openxmlformats.org/officeDocument/2006/relationships"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heckmark"/>
        </a:ext>
      </dgm:extLst>
    </dgm:pt>
    <dgm:pt modelId="{610CC251-F375-45B7-957B-572508CFE256}" type="pres">
      <dgm:prSet presAssocID="{575A7CAA-A515-4A50-87B1-DE404D245A52}" presName="spaceRect" presStyleCnt="0"/>
      <dgm:spPr/>
    </dgm:pt>
    <dgm:pt modelId="{975CB065-7822-4D01-B8B3-FC69A6B49834}" type="pres">
      <dgm:prSet presAssocID="{575A7CAA-A515-4A50-87B1-DE404D245A52}" presName="textRect" presStyleLbl="revTx" presStyleIdx="7" presStyleCnt="8" custLinFactY="29504" custLinFactNeighborX="9852" custLinFactNeighborY="100000">
        <dgm:presLayoutVars>
          <dgm:chMax val="1"/>
          <dgm:chPref val="1"/>
        </dgm:presLayoutVars>
      </dgm:prSet>
      <dgm:spPr/>
    </dgm:pt>
  </dgm:ptLst>
  <dgm:cxnLst>
    <dgm:cxn modelId="{FC7A2201-330A-4D23-A177-6F642B63A301}" type="presOf" srcId="{FDF76915-5DFA-4B6D-920E-5976863B3DB3}" destId="{A807E5CD-92C3-45AD-B3B1-D8996FB621B2}" srcOrd="0" destOrd="0" presId="urn:microsoft.com/office/officeart/2018/5/layout/IconLeafLabelList"/>
    <dgm:cxn modelId="{14756506-CF97-44D8-996E-BD08BE480F0F}" srcId="{33E6C170-B0DB-407E-9340-A15AC09647BD}" destId="{0FDF8460-9687-4F82-86F8-93A5F5303E64}" srcOrd="4" destOrd="0" parTransId="{E3BE22B4-AAA3-4862-9F18-D8921976B60F}" sibTransId="{3E44606A-BE38-4F0A-8A7D-0EA78C08A5FE}"/>
    <dgm:cxn modelId="{FF67AD0B-3F69-4A69-869E-3407F637C2C0}" srcId="{33E6C170-B0DB-407E-9340-A15AC09647BD}" destId="{246DCBEC-2173-4105-87B2-4CE02356BDF6}" srcOrd="5" destOrd="0" parTransId="{C0DDD6F6-6F4E-4FC1-887B-20AC1503422B}" sibTransId="{7921D1BF-BA30-4142-BC10-D6A0391D7334}"/>
    <dgm:cxn modelId="{E3D6EF0E-9543-40A4-8FA4-DD7194E40955}" type="presOf" srcId="{7C21B038-5F36-4C7B-93BC-104B2D2B0C79}" destId="{4BE1CCAE-13FB-4541-8220-01D212D3D402}" srcOrd="0" destOrd="0" presId="urn:microsoft.com/office/officeart/2018/5/layout/IconLeafLabelList"/>
    <dgm:cxn modelId="{C63D100F-0FEA-4A8E-9AD0-36F8B498D425}" srcId="{33E6C170-B0DB-407E-9340-A15AC09647BD}" destId="{FDF76915-5DFA-4B6D-920E-5976863B3DB3}" srcOrd="1" destOrd="0" parTransId="{35651059-8E84-4150-8853-8BCF2F7A7926}" sibTransId="{3C4083B4-1B87-47F2-AC51-90CAA280100E}"/>
    <dgm:cxn modelId="{02B12E63-1D79-47A4-8753-889095177A4E}" type="presOf" srcId="{33E6C170-B0DB-407E-9340-A15AC09647BD}" destId="{52C8DC11-0E54-44B4-AF8B-9B4BDB349207}" srcOrd="0" destOrd="0" presId="urn:microsoft.com/office/officeart/2018/5/layout/IconLeafLabelList"/>
    <dgm:cxn modelId="{9947B86D-8C8A-4313-929A-C27F1EC784A2}" type="presOf" srcId="{0FDF8460-9687-4F82-86F8-93A5F5303E64}" destId="{08114ECC-4BD1-4AA3-97F2-817F78A1D5F9}" srcOrd="0" destOrd="0" presId="urn:microsoft.com/office/officeart/2018/5/layout/IconLeafLabelList"/>
    <dgm:cxn modelId="{B1C9C952-7435-4E81-896D-046759B43066}" type="presOf" srcId="{575A7CAA-A515-4A50-87B1-DE404D245A52}" destId="{975CB065-7822-4D01-B8B3-FC69A6B49834}" srcOrd="0" destOrd="0" presId="urn:microsoft.com/office/officeart/2018/5/layout/IconLeafLabelList"/>
    <dgm:cxn modelId="{EE8BD77E-DC4A-42A3-8B4E-BA4F15DE8777}" srcId="{33E6C170-B0DB-407E-9340-A15AC09647BD}" destId="{8364985D-9219-4A2F-9539-034EC7360868}" srcOrd="6" destOrd="0" parTransId="{6C19A123-335A-480E-ADB1-A6D6C08D3C7A}" sibTransId="{6C0EE507-CE5E-4882-959D-58D7FDD1AA98}"/>
    <dgm:cxn modelId="{50D1C782-8AB7-4014-855B-31D20E510CE4}" srcId="{33E6C170-B0DB-407E-9340-A15AC09647BD}" destId="{7C21B038-5F36-4C7B-93BC-104B2D2B0C79}" srcOrd="0" destOrd="0" parTransId="{3343ADBA-9C9F-4D44-AF04-C48C1E76A126}" sibTransId="{C665CAD5-D57A-47B8-97DC-D6D507CB9D32}"/>
    <dgm:cxn modelId="{AFBB9B8E-A6F2-4766-92D3-BE484713B518}" srcId="{33E6C170-B0DB-407E-9340-A15AC09647BD}" destId="{6F720C01-BEB9-4DE7-880F-1C4F22030F9F}" srcOrd="2" destOrd="0" parTransId="{73024482-3165-4990-9D4C-84493A7875F7}" sibTransId="{63AC70F0-9F73-4B38-9F7E-65383A475305}"/>
    <dgm:cxn modelId="{6370DCA7-A515-457D-9BDF-7A526B91AA7C}" type="presOf" srcId="{FADB4B32-1CE9-4DA1-B33F-A228E534F26D}" destId="{6F8543D8-1B6C-47C3-A5CB-45CF872076A8}" srcOrd="0" destOrd="0" presId="urn:microsoft.com/office/officeart/2018/5/layout/IconLeafLabelList"/>
    <dgm:cxn modelId="{D6A862AB-1F77-4AD3-B7FC-28D02AD5CD65}" type="presOf" srcId="{246DCBEC-2173-4105-87B2-4CE02356BDF6}" destId="{6D37C7F8-644B-466C-A52B-E282647AB696}" srcOrd="0" destOrd="0" presId="urn:microsoft.com/office/officeart/2018/5/layout/IconLeafLabelList"/>
    <dgm:cxn modelId="{BB29B9B4-01EC-49C2-9855-7E59778A1318}" srcId="{33E6C170-B0DB-407E-9340-A15AC09647BD}" destId="{575A7CAA-A515-4A50-87B1-DE404D245A52}" srcOrd="7" destOrd="0" parTransId="{0E14A901-9EEA-4523-ABE4-6DE21CC654D2}" sibTransId="{A7FE8D47-41D3-4371-A964-0734F0479856}"/>
    <dgm:cxn modelId="{DC0EC1C6-0A1C-4E9A-A176-6455291C63F3}" type="presOf" srcId="{8364985D-9219-4A2F-9539-034EC7360868}" destId="{B6CFB195-79A6-4DDA-A219-7058DD3524AC}" srcOrd="0" destOrd="0" presId="urn:microsoft.com/office/officeart/2018/5/layout/IconLeafLabelList"/>
    <dgm:cxn modelId="{5B78B3CC-AF57-4FBA-9782-5F4C6DCA26A7}" type="presOf" srcId="{6F720C01-BEB9-4DE7-880F-1C4F22030F9F}" destId="{0C35A221-8828-4D19-88F2-670A1FF1068A}" srcOrd="0" destOrd="0" presId="urn:microsoft.com/office/officeart/2018/5/layout/IconLeafLabelList"/>
    <dgm:cxn modelId="{47BF5AD4-DFD4-43CF-831C-103480192787}" srcId="{33E6C170-B0DB-407E-9340-A15AC09647BD}" destId="{FADB4B32-1CE9-4DA1-B33F-A228E534F26D}" srcOrd="3" destOrd="0" parTransId="{E5386C44-7DC9-4978-A261-6A6023AEB0D6}" sibTransId="{0C445BFF-2EED-4209-B089-1988745E1DE7}"/>
    <dgm:cxn modelId="{ECE82331-77C0-4356-A7CF-8497D55AD5C8}" type="presParOf" srcId="{52C8DC11-0E54-44B4-AF8B-9B4BDB349207}" destId="{2ED51630-BC28-4E49-A476-C7479D417D88}" srcOrd="0" destOrd="0" presId="urn:microsoft.com/office/officeart/2018/5/layout/IconLeafLabelList"/>
    <dgm:cxn modelId="{7EB78DA7-F99D-4566-910B-ACD426C0CFA2}" type="presParOf" srcId="{2ED51630-BC28-4E49-A476-C7479D417D88}" destId="{0946737C-FA20-4AD8-B6E9-EF36834C40E1}" srcOrd="0" destOrd="0" presId="urn:microsoft.com/office/officeart/2018/5/layout/IconLeafLabelList"/>
    <dgm:cxn modelId="{CD17A34C-69C0-401C-981D-9BF69C72D35B}" type="presParOf" srcId="{2ED51630-BC28-4E49-A476-C7479D417D88}" destId="{14E9E855-BB35-45E8-90C0-FACDC4A56946}" srcOrd="1" destOrd="0" presId="urn:microsoft.com/office/officeart/2018/5/layout/IconLeafLabelList"/>
    <dgm:cxn modelId="{28869667-17F8-43C5-8376-34CA5B606195}" type="presParOf" srcId="{2ED51630-BC28-4E49-A476-C7479D417D88}" destId="{E957D6E3-43C3-4ECE-89B2-897E97CB001D}" srcOrd="2" destOrd="0" presId="urn:microsoft.com/office/officeart/2018/5/layout/IconLeafLabelList"/>
    <dgm:cxn modelId="{7412E0D6-E7D2-4258-A80F-6E6D6D49ED7C}" type="presParOf" srcId="{2ED51630-BC28-4E49-A476-C7479D417D88}" destId="{4BE1CCAE-13FB-4541-8220-01D212D3D402}" srcOrd="3" destOrd="0" presId="urn:microsoft.com/office/officeart/2018/5/layout/IconLeafLabelList"/>
    <dgm:cxn modelId="{23349652-F421-47D4-B3F2-897779B65F4B}" type="presParOf" srcId="{52C8DC11-0E54-44B4-AF8B-9B4BDB349207}" destId="{48E3B64F-670B-4B02-A506-BF2C3495E4CB}" srcOrd="1" destOrd="0" presId="urn:microsoft.com/office/officeart/2018/5/layout/IconLeafLabelList"/>
    <dgm:cxn modelId="{2C1E7F79-BC73-4BCB-B1F8-04A1E0D6C1BF}" type="presParOf" srcId="{52C8DC11-0E54-44B4-AF8B-9B4BDB349207}" destId="{8B2EC7DE-E2EB-418E-8D70-728FC46A070F}" srcOrd="2" destOrd="0" presId="urn:microsoft.com/office/officeart/2018/5/layout/IconLeafLabelList"/>
    <dgm:cxn modelId="{F56A5CD6-99DB-4048-B0E4-C212B7399A96}" type="presParOf" srcId="{8B2EC7DE-E2EB-418E-8D70-728FC46A070F}" destId="{8C3342A7-B412-4C34-BF4D-A1C750A041A3}" srcOrd="0" destOrd="0" presId="urn:microsoft.com/office/officeart/2018/5/layout/IconLeafLabelList"/>
    <dgm:cxn modelId="{DFDE4231-8D50-40EF-8552-4D6E64B7CDF3}" type="presParOf" srcId="{8B2EC7DE-E2EB-418E-8D70-728FC46A070F}" destId="{32446957-E2A7-4A86-8003-60B867ABB92D}" srcOrd="1" destOrd="0" presId="urn:microsoft.com/office/officeart/2018/5/layout/IconLeafLabelList"/>
    <dgm:cxn modelId="{6AE63441-895A-42F8-B2E6-9445C303C98A}" type="presParOf" srcId="{8B2EC7DE-E2EB-418E-8D70-728FC46A070F}" destId="{EBD050C0-E107-4C07-8242-F223560FF263}" srcOrd="2" destOrd="0" presId="urn:microsoft.com/office/officeart/2018/5/layout/IconLeafLabelList"/>
    <dgm:cxn modelId="{F416ACF6-6B3E-4F4C-ADBA-0C55282D5049}" type="presParOf" srcId="{8B2EC7DE-E2EB-418E-8D70-728FC46A070F}" destId="{A807E5CD-92C3-45AD-B3B1-D8996FB621B2}" srcOrd="3" destOrd="0" presId="urn:microsoft.com/office/officeart/2018/5/layout/IconLeafLabelList"/>
    <dgm:cxn modelId="{4D8D7304-FDC6-42B6-B24C-EE6C4CA35BBB}" type="presParOf" srcId="{52C8DC11-0E54-44B4-AF8B-9B4BDB349207}" destId="{FC72C80A-0075-4F12-A058-FECA6644C5A7}" srcOrd="3" destOrd="0" presId="urn:microsoft.com/office/officeart/2018/5/layout/IconLeafLabelList"/>
    <dgm:cxn modelId="{48F73496-0B39-4BFF-959A-25FD88FEF695}" type="presParOf" srcId="{52C8DC11-0E54-44B4-AF8B-9B4BDB349207}" destId="{A6E9E4E7-7FC7-4E92-AA27-B078DCB51EA2}" srcOrd="4" destOrd="0" presId="urn:microsoft.com/office/officeart/2018/5/layout/IconLeafLabelList"/>
    <dgm:cxn modelId="{089FD6D4-2820-4E8D-A131-46AB24B6C9FF}" type="presParOf" srcId="{A6E9E4E7-7FC7-4E92-AA27-B078DCB51EA2}" destId="{3565B2CC-C309-4662-BE64-A409C52A96C9}" srcOrd="0" destOrd="0" presId="urn:microsoft.com/office/officeart/2018/5/layout/IconLeafLabelList"/>
    <dgm:cxn modelId="{6B8E6B54-8FF3-4B83-A28F-CFD5270D14B3}" type="presParOf" srcId="{A6E9E4E7-7FC7-4E92-AA27-B078DCB51EA2}" destId="{0DE3E329-9F91-487E-B0DE-3A659630B605}" srcOrd="1" destOrd="0" presId="urn:microsoft.com/office/officeart/2018/5/layout/IconLeafLabelList"/>
    <dgm:cxn modelId="{FFFAC12C-573A-4DAE-8297-DB7AB1D87535}" type="presParOf" srcId="{A6E9E4E7-7FC7-4E92-AA27-B078DCB51EA2}" destId="{66F0C470-48BA-4E5E-BAF9-8324DE1B053B}" srcOrd="2" destOrd="0" presId="urn:microsoft.com/office/officeart/2018/5/layout/IconLeafLabelList"/>
    <dgm:cxn modelId="{AFEF183C-59D9-4F53-8CEF-31FE1AB1F5BC}" type="presParOf" srcId="{A6E9E4E7-7FC7-4E92-AA27-B078DCB51EA2}" destId="{0C35A221-8828-4D19-88F2-670A1FF1068A}" srcOrd="3" destOrd="0" presId="urn:microsoft.com/office/officeart/2018/5/layout/IconLeafLabelList"/>
    <dgm:cxn modelId="{C08968D0-AA38-40F3-B0C3-CB9C9C660F85}" type="presParOf" srcId="{52C8DC11-0E54-44B4-AF8B-9B4BDB349207}" destId="{20E55700-8D96-435E-8A33-614F30FBAD1E}" srcOrd="5" destOrd="0" presId="urn:microsoft.com/office/officeart/2018/5/layout/IconLeafLabelList"/>
    <dgm:cxn modelId="{B52249E4-AA3B-44A8-A0D0-23F4D2C9E450}" type="presParOf" srcId="{52C8DC11-0E54-44B4-AF8B-9B4BDB349207}" destId="{C700956A-B28C-4C6E-9425-5432CC880895}" srcOrd="6" destOrd="0" presId="urn:microsoft.com/office/officeart/2018/5/layout/IconLeafLabelList"/>
    <dgm:cxn modelId="{9518E280-8134-4C1F-A21E-41E6367C4135}" type="presParOf" srcId="{C700956A-B28C-4C6E-9425-5432CC880895}" destId="{A880F5A9-4F47-4BE1-8FA8-8F978A41F7AE}" srcOrd="0" destOrd="0" presId="urn:microsoft.com/office/officeart/2018/5/layout/IconLeafLabelList"/>
    <dgm:cxn modelId="{3199730D-62AD-4340-B2FD-ED8CD9162AC2}" type="presParOf" srcId="{C700956A-B28C-4C6E-9425-5432CC880895}" destId="{8FCED335-F0A7-4AA1-9934-649A0C82B379}" srcOrd="1" destOrd="0" presId="urn:microsoft.com/office/officeart/2018/5/layout/IconLeafLabelList"/>
    <dgm:cxn modelId="{BEC1CBFC-87D9-4255-91FD-4721B0957050}" type="presParOf" srcId="{C700956A-B28C-4C6E-9425-5432CC880895}" destId="{E6AA7F62-95CF-4DF6-BECA-5A6FDF2C4676}" srcOrd="2" destOrd="0" presId="urn:microsoft.com/office/officeart/2018/5/layout/IconLeafLabelList"/>
    <dgm:cxn modelId="{B70E76B1-2432-40F6-9223-FACB7739666D}" type="presParOf" srcId="{C700956A-B28C-4C6E-9425-5432CC880895}" destId="{6F8543D8-1B6C-47C3-A5CB-45CF872076A8}" srcOrd="3" destOrd="0" presId="urn:microsoft.com/office/officeart/2018/5/layout/IconLeafLabelList"/>
    <dgm:cxn modelId="{B356B770-F663-4FA6-A197-3533F90ED84C}" type="presParOf" srcId="{52C8DC11-0E54-44B4-AF8B-9B4BDB349207}" destId="{B99A492D-666B-415F-BD96-CEC8E4251CD6}" srcOrd="7" destOrd="0" presId="urn:microsoft.com/office/officeart/2018/5/layout/IconLeafLabelList"/>
    <dgm:cxn modelId="{A888F47E-2B12-45E8-A62C-A094E0A01C38}" type="presParOf" srcId="{52C8DC11-0E54-44B4-AF8B-9B4BDB349207}" destId="{CB65A9CB-AC88-4576-ABE7-90271118A8B7}" srcOrd="8" destOrd="0" presId="urn:microsoft.com/office/officeart/2018/5/layout/IconLeafLabelList"/>
    <dgm:cxn modelId="{F5FA1680-19E2-42E0-8071-C5FC1D78C404}" type="presParOf" srcId="{CB65A9CB-AC88-4576-ABE7-90271118A8B7}" destId="{C3BA8A0C-0ECC-46D5-8918-8BD9344B2065}" srcOrd="0" destOrd="0" presId="urn:microsoft.com/office/officeart/2018/5/layout/IconLeafLabelList"/>
    <dgm:cxn modelId="{23F2638C-C4EC-4D82-8A6B-0F2956B268E1}" type="presParOf" srcId="{CB65A9CB-AC88-4576-ABE7-90271118A8B7}" destId="{1F431D87-1FF3-483E-88BF-AF5017B2BCE7}" srcOrd="1" destOrd="0" presId="urn:microsoft.com/office/officeart/2018/5/layout/IconLeafLabelList"/>
    <dgm:cxn modelId="{5F9D4D6D-7408-4A4A-AEC5-CBABDCADF1A6}" type="presParOf" srcId="{CB65A9CB-AC88-4576-ABE7-90271118A8B7}" destId="{EED6A549-6252-4342-BBB4-24C4C28FD5F6}" srcOrd="2" destOrd="0" presId="urn:microsoft.com/office/officeart/2018/5/layout/IconLeafLabelList"/>
    <dgm:cxn modelId="{B780B9E4-4B88-4273-ADD6-BE3CFF6CEE8C}" type="presParOf" srcId="{CB65A9CB-AC88-4576-ABE7-90271118A8B7}" destId="{08114ECC-4BD1-4AA3-97F2-817F78A1D5F9}" srcOrd="3" destOrd="0" presId="urn:microsoft.com/office/officeart/2018/5/layout/IconLeafLabelList"/>
    <dgm:cxn modelId="{43A37121-0F6F-44AC-8523-876E815B6E92}" type="presParOf" srcId="{52C8DC11-0E54-44B4-AF8B-9B4BDB349207}" destId="{2A2675EF-1005-40E5-9142-583F1D792A39}" srcOrd="9" destOrd="0" presId="urn:microsoft.com/office/officeart/2018/5/layout/IconLeafLabelList"/>
    <dgm:cxn modelId="{AFDA6281-ADC3-4854-B5B4-5D1919F0CF30}" type="presParOf" srcId="{52C8DC11-0E54-44B4-AF8B-9B4BDB349207}" destId="{1470817F-1766-4CF6-BAB9-BA38D0C1E7B7}" srcOrd="10" destOrd="0" presId="urn:microsoft.com/office/officeart/2018/5/layout/IconLeafLabelList"/>
    <dgm:cxn modelId="{DEA5AC71-900F-432D-A23B-31EBE219AC43}" type="presParOf" srcId="{1470817F-1766-4CF6-BAB9-BA38D0C1E7B7}" destId="{FCE0E4E6-7070-4AE4-B37C-0B7F48054838}" srcOrd="0" destOrd="0" presId="urn:microsoft.com/office/officeart/2018/5/layout/IconLeafLabelList"/>
    <dgm:cxn modelId="{69704ABF-94F5-4C4C-B8C0-D51A999A3B95}" type="presParOf" srcId="{1470817F-1766-4CF6-BAB9-BA38D0C1E7B7}" destId="{0AB707C8-AD0D-476E-8DB4-158755EEBBFF}" srcOrd="1" destOrd="0" presId="urn:microsoft.com/office/officeart/2018/5/layout/IconLeafLabelList"/>
    <dgm:cxn modelId="{67BFB635-5508-495B-B8FE-CD688877FFAF}" type="presParOf" srcId="{1470817F-1766-4CF6-BAB9-BA38D0C1E7B7}" destId="{EF18788C-3D0A-4C74-AA22-EB7D80A11A49}" srcOrd="2" destOrd="0" presId="urn:microsoft.com/office/officeart/2018/5/layout/IconLeafLabelList"/>
    <dgm:cxn modelId="{64479E49-4D6B-4081-8338-AA418AE19C8F}" type="presParOf" srcId="{1470817F-1766-4CF6-BAB9-BA38D0C1E7B7}" destId="{6D37C7F8-644B-466C-A52B-E282647AB696}" srcOrd="3" destOrd="0" presId="urn:microsoft.com/office/officeart/2018/5/layout/IconLeafLabelList"/>
    <dgm:cxn modelId="{AB8483A1-20FC-4970-96AF-12586692110F}" type="presParOf" srcId="{52C8DC11-0E54-44B4-AF8B-9B4BDB349207}" destId="{FB2DFFEC-7B0C-4BEB-967E-022EC55688C9}" srcOrd="11" destOrd="0" presId="urn:microsoft.com/office/officeart/2018/5/layout/IconLeafLabelList"/>
    <dgm:cxn modelId="{048985CA-38B0-4065-9BD9-EBA85AD5FE16}" type="presParOf" srcId="{52C8DC11-0E54-44B4-AF8B-9B4BDB349207}" destId="{B1E91940-27EC-4411-AE04-6C441C045B83}" srcOrd="12" destOrd="0" presId="urn:microsoft.com/office/officeart/2018/5/layout/IconLeafLabelList"/>
    <dgm:cxn modelId="{BB02A345-5879-48FF-9B15-894AE09EB654}" type="presParOf" srcId="{B1E91940-27EC-4411-AE04-6C441C045B83}" destId="{616EC433-ADA1-4A6F-BA38-5D7F4353424A}" srcOrd="0" destOrd="0" presId="urn:microsoft.com/office/officeart/2018/5/layout/IconLeafLabelList"/>
    <dgm:cxn modelId="{1EAA07F8-F47E-41B1-AD9D-10FEB4C010C5}" type="presParOf" srcId="{B1E91940-27EC-4411-AE04-6C441C045B83}" destId="{FDB7C937-59AB-4DD6-95D1-BCE54C8715E2}" srcOrd="1" destOrd="0" presId="urn:microsoft.com/office/officeart/2018/5/layout/IconLeafLabelList"/>
    <dgm:cxn modelId="{AB161FA8-574E-4B6B-BEF0-035A0D3337DE}" type="presParOf" srcId="{B1E91940-27EC-4411-AE04-6C441C045B83}" destId="{281608A3-8EF4-4296-AC5B-D56F5A83A648}" srcOrd="2" destOrd="0" presId="urn:microsoft.com/office/officeart/2018/5/layout/IconLeafLabelList"/>
    <dgm:cxn modelId="{8E88BB05-3D55-4D24-8514-48C8AB4046A8}" type="presParOf" srcId="{B1E91940-27EC-4411-AE04-6C441C045B83}" destId="{B6CFB195-79A6-4DDA-A219-7058DD3524AC}" srcOrd="3" destOrd="0" presId="urn:microsoft.com/office/officeart/2018/5/layout/IconLeafLabelList"/>
    <dgm:cxn modelId="{6F603E00-34FE-4339-A086-23574134457B}" type="presParOf" srcId="{52C8DC11-0E54-44B4-AF8B-9B4BDB349207}" destId="{73BC6AE1-B3A2-4356-ABB7-5E400C12756D}" srcOrd="13" destOrd="0" presId="urn:microsoft.com/office/officeart/2018/5/layout/IconLeafLabelList"/>
    <dgm:cxn modelId="{7EB45C99-8F7D-4D57-9941-1E1B6914A799}" type="presParOf" srcId="{52C8DC11-0E54-44B4-AF8B-9B4BDB349207}" destId="{75E67AF4-AE73-4DDB-A77B-F2532EAF7222}" srcOrd="14" destOrd="0" presId="urn:microsoft.com/office/officeart/2018/5/layout/IconLeafLabelList"/>
    <dgm:cxn modelId="{5C0A2EE3-2768-42F0-ABE8-8404B2D532E0}" type="presParOf" srcId="{75E67AF4-AE73-4DDB-A77B-F2532EAF7222}" destId="{4983DE65-F326-469D-86A2-B644DB396935}" srcOrd="0" destOrd="0" presId="urn:microsoft.com/office/officeart/2018/5/layout/IconLeafLabelList"/>
    <dgm:cxn modelId="{091A7294-6402-454D-9D14-A0ECF5DE38B4}" type="presParOf" srcId="{75E67AF4-AE73-4DDB-A77B-F2532EAF7222}" destId="{AD446D09-0080-409F-9BD4-44CE6AD4E8A8}" srcOrd="1" destOrd="0" presId="urn:microsoft.com/office/officeart/2018/5/layout/IconLeafLabelList"/>
    <dgm:cxn modelId="{807787E6-87CB-498C-B175-F6C6C96164F1}" type="presParOf" srcId="{75E67AF4-AE73-4DDB-A77B-F2532EAF7222}" destId="{610CC251-F375-45B7-957B-572508CFE256}" srcOrd="2" destOrd="0" presId="urn:microsoft.com/office/officeart/2018/5/layout/IconLeafLabelList"/>
    <dgm:cxn modelId="{668A0CCA-47B5-4DB8-8C56-E972C3BF76AE}" type="presParOf" srcId="{75E67AF4-AE73-4DDB-A77B-F2532EAF7222}" destId="{975CB065-7822-4D01-B8B3-FC69A6B49834}" srcOrd="3" destOrd="0" presId="urn:microsoft.com/office/officeart/2018/5/layout/IconLeafLabel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2CE1A4A-1722-4235-9C7C-67CBA1BA201F}">
      <dsp:nvSpPr>
        <dsp:cNvPr id="0" name=""/>
        <dsp:cNvSpPr/>
      </dsp:nvSpPr>
      <dsp:spPr>
        <a:xfrm>
          <a:off x="192977" y="477382"/>
          <a:ext cx="718877" cy="718877"/>
        </a:xfrm>
        <a:prstGeom prst="ellipse">
          <a:avLst/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6B6B3B3-BB7A-4B9C-95B2-F88383F0EF20}">
      <dsp:nvSpPr>
        <dsp:cNvPr id="0" name=""/>
        <dsp:cNvSpPr/>
      </dsp:nvSpPr>
      <dsp:spPr>
        <a:xfrm>
          <a:off x="343941" y="628346"/>
          <a:ext cx="416949" cy="416949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B9BE01C-97B7-4CC6-9B87-0B533A00174A}">
      <dsp:nvSpPr>
        <dsp:cNvPr id="0" name=""/>
        <dsp:cNvSpPr/>
      </dsp:nvSpPr>
      <dsp:spPr>
        <a:xfrm>
          <a:off x="1065899" y="477382"/>
          <a:ext cx="1694497" cy="71887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Evaluates ML model performance for classification and regression tasks with metrics like Accuracy, F1-Score, RMSE, and R²</a:t>
          </a:r>
        </a:p>
      </dsp:txBody>
      <dsp:txXfrm>
        <a:off x="1065899" y="477382"/>
        <a:ext cx="1694497" cy="718877"/>
      </dsp:txXfrm>
    </dsp:sp>
    <dsp:sp modelId="{EF080ABC-E57B-4969-944B-0CF565EC2A0D}">
      <dsp:nvSpPr>
        <dsp:cNvPr id="0" name=""/>
        <dsp:cNvSpPr/>
      </dsp:nvSpPr>
      <dsp:spPr>
        <a:xfrm>
          <a:off x="3055650" y="477382"/>
          <a:ext cx="718877" cy="718877"/>
        </a:xfrm>
        <a:prstGeom prst="ellipse">
          <a:avLst/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BB7FC14-0C2F-4A06-B48B-71EE80320F92}">
      <dsp:nvSpPr>
        <dsp:cNvPr id="0" name=""/>
        <dsp:cNvSpPr/>
      </dsp:nvSpPr>
      <dsp:spPr>
        <a:xfrm>
          <a:off x="3206614" y="628346"/>
          <a:ext cx="416949" cy="416949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5F3BA4F-01D0-4450-9D35-E66095AD0664}">
      <dsp:nvSpPr>
        <dsp:cNvPr id="0" name=""/>
        <dsp:cNvSpPr/>
      </dsp:nvSpPr>
      <dsp:spPr>
        <a:xfrm>
          <a:off x="3928573" y="477382"/>
          <a:ext cx="1694497" cy="71887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Seamlessly integrates with MLflow and Pickle model artifacts to fit diverse ML workflows</a:t>
          </a:r>
        </a:p>
      </dsp:txBody>
      <dsp:txXfrm>
        <a:off x="3928573" y="477382"/>
        <a:ext cx="1694497" cy="718877"/>
      </dsp:txXfrm>
    </dsp:sp>
    <dsp:sp modelId="{DCF2935D-F089-4459-8C9A-C60308FF1637}">
      <dsp:nvSpPr>
        <dsp:cNvPr id="0" name=""/>
        <dsp:cNvSpPr/>
      </dsp:nvSpPr>
      <dsp:spPr>
        <a:xfrm>
          <a:off x="5918323" y="477382"/>
          <a:ext cx="718877" cy="718877"/>
        </a:xfrm>
        <a:prstGeom prst="ellipse">
          <a:avLst/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8F399E3-33FA-490A-9FCF-7319C775D0F2}">
      <dsp:nvSpPr>
        <dsp:cNvPr id="0" name=""/>
        <dsp:cNvSpPr/>
      </dsp:nvSpPr>
      <dsp:spPr>
        <a:xfrm>
          <a:off x="6069288" y="628346"/>
          <a:ext cx="416949" cy="416949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962A8D0-6FB3-42D7-AEDC-779C0C4EBBFA}">
      <dsp:nvSpPr>
        <dsp:cNvPr id="0" name=""/>
        <dsp:cNvSpPr/>
      </dsp:nvSpPr>
      <dsp:spPr>
        <a:xfrm>
          <a:off x="6791246" y="477382"/>
          <a:ext cx="1694497" cy="71887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Employs SHAP values to deliver clear model explainability and interpret complex predictions</a:t>
          </a:r>
        </a:p>
      </dsp:txBody>
      <dsp:txXfrm>
        <a:off x="6791246" y="477382"/>
        <a:ext cx="1694497" cy="718877"/>
      </dsp:txXfrm>
    </dsp:sp>
    <dsp:sp modelId="{9E69F79B-0F03-421E-8931-1206E11F9274}">
      <dsp:nvSpPr>
        <dsp:cNvPr id="0" name=""/>
        <dsp:cNvSpPr/>
      </dsp:nvSpPr>
      <dsp:spPr>
        <a:xfrm>
          <a:off x="192977" y="1686294"/>
          <a:ext cx="718877" cy="718877"/>
        </a:xfrm>
        <a:prstGeom prst="ellipse">
          <a:avLst/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1E5FA6D-AD9C-4752-8AA4-3B8BF3283A23}">
      <dsp:nvSpPr>
        <dsp:cNvPr id="0" name=""/>
        <dsp:cNvSpPr/>
      </dsp:nvSpPr>
      <dsp:spPr>
        <a:xfrm>
          <a:off x="343941" y="1837258"/>
          <a:ext cx="416949" cy="416949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4CB4363-49B6-43B7-A3AF-C04015DEB216}">
      <dsp:nvSpPr>
        <dsp:cNvPr id="0" name=""/>
        <dsp:cNvSpPr/>
      </dsp:nvSpPr>
      <dsp:spPr>
        <a:xfrm>
          <a:off x="1065899" y="1686294"/>
          <a:ext cx="1694497" cy="71887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Correlates performance metrics with feature drift detected by DataDriftSDK to uncover impact drivers</a:t>
          </a:r>
        </a:p>
      </dsp:txBody>
      <dsp:txXfrm>
        <a:off x="1065899" y="1686294"/>
        <a:ext cx="1694497" cy="718877"/>
      </dsp:txXfrm>
    </dsp:sp>
    <dsp:sp modelId="{B8B9C4FD-1826-4BD7-8C48-87A0FBCC6054}">
      <dsp:nvSpPr>
        <dsp:cNvPr id="0" name=""/>
        <dsp:cNvSpPr/>
      </dsp:nvSpPr>
      <dsp:spPr>
        <a:xfrm>
          <a:off x="3055650" y="1686294"/>
          <a:ext cx="718877" cy="718877"/>
        </a:xfrm>
        <a:prstGeom prst="ellipse">
          <a:avLst/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90FB5EA-B9EC-449A-A69E-03554EA4421A}">
      <dsp:nvSpPr>
        <dsp:cNvPr id="0" name=""/>
        <dsp:cNvSpPr/>
      </dsp:nvSpPr>
      <dsp:spPr>
        <a:xfrm>
          <a:off x="3206614" y="1837258"/>
          <a:ext cx="416949" cy="416949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CC1890E-6048-483A-94C9-E6425FA3FC7C}">
      <dsp:nvSpPr>
        <dsp:cNvPr id="0" name=""/>
        <dsp:cNvSpPr/>
      </dsp:nvSpPr>
      <dsp:spPr>
        <a:xfrm>
          <a:off x="3928573" y="1686294"/>
          <a:ext cx="1694497" cy="71887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Exports results to CSV or Databricks Delta tables for unified tracking of model behavior and data shifts</a:t>
          </a:r>
        </a:p>
      </dsp:txBody>
      <dsp:txXfrm>
        <a:off x="3928573" y="1686294"/>
        <a:ext cx="1694497" cy="718877"/>
      </dsp:txXfrm>
    </dsp:sp>
    <dsp:sp modelId="{A98C13BD-72C4-4FC7-B7DF-CD3228E9D25F}">
      <dsp:nvSpPr>
        <dsp:cNvPr id="0" name=""/>
        <dsp:cNvSpPr/>
      </dsp:nvSpPr>
      <dsp:spPr>
        <a:xfrm>
          <a:off x="5918323" y="1686294"/>
          <a:ext cx="718877" cy="718877"/>
        </a:xfrm>
        <a:prstGeom prst="ellipse">
          <a:avLst/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E37B1F9-1723-4605-97A3-1EFABA6AB820}">
      <dsp:nvSpPr>
        <dsp:cNvPr id="0" name=""/>
        <dsp:cNvSpPr/>
      </dsp:nvSpPr>
      <dsp:spPr>
        <a:xfrm>
          <a:off x="6069288" y="1837258"/>
          <a:ext cx="416949" cy="416949"/>
        </a:xfrm>
        <a:prstGeom prst="rect">
          <a:avLst/>
        </a:prstGeom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4EB06C-B612-470B-9FAE-B74D0279D656}">
      <dsp:nvSpPr>
        <dsp:cNvPr id="0" name=""/>
        <dsp:cNvSpPr/>
      </dsp:nvSpPr>
      <dsp:spPr>
        <a:xfrm>
          <a:off x="6791246" y="1686294"/>
          <a:ext cx="1694497" cy="71887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Enables enhanced interpretability and governance by tracking model metrics alongside detected data drift</a:t>
          </a:r>
        </a:p>
      </dsp:txBody>
      <dsp:txXfrm>
        <a:off x="6791246" y="1686294"/>
        <a:ext cx="1694497" cy="71887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48EE024-B985-47C1-B38E-91043804035E}">
      <dsp:nvSpPr>
        <dsp:cNvPr id="0" name=""/>
        <dsp:cNvSpPr/>
      </dsp:nvSpPr>
      <dsp:spPr>
        <a:xfrm>
          <a:off x="0" y="3836"/>
          <a:ext cx="8456613" cy="817077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7682415-1D24-4E53-8D92-35EC7BF325F7}">
      <dsp:nvSpPr>
        <dsp:cNvPr id="0" name=""/>
        <dsp:cNvSpPr/>
      </dsp:nvSpPr>
      <dsp:spPr>
        <a:xfrm>
          <a:off x="247165" y="187678"/>
          <a:ext cx="449392" cy="449392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5E02FF4-9A31-4D21-A22C-B2CE22287812}">
      <dsp:nvSpPr>
        <dsp:cNvPr id="0" name=""/>
        <dsp:cNvSpPr/>
      </dsp:nvSpPr>
      <dsp:spPr>
        <a:xfrm>
          <a:off x="943724" y="3836"/>
          <a:ext cx="7512888" cy="81707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6474" tIns="86474" rIns="86474" bIns="86474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Provides a robust and scalable foundation for high-quality ML operations</a:t>
          </a:r>
        </a:p>
      </dsp:txBody>
      <dsp:txXfrm>
        <a:off x="943724" y="3836"/>
        <a:ext cx="7512888" cy="817077"/>
      </dsp:txXfrm>
    </dsp:sp>
    <dsp:sp modelId="{3B687AE5-BC8E-48F0-B183-B3479E31B497}">
      <dsp:nvSpPr>
        <dsp:cNvPr id="0" name=""/>
        <dsp:cNvSpPr/>
      </dsp:nvSpPr>
      <dsp:spPr>
        <a:xfrm>
          <a:off x="0" y="1025182"/>
          <a:ext cx="8456613" cy="817077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239435E-0EE8-4FE6-BE01-8F7C2617DA6F}">
      <dsp:nvSpPr>
        <dsp:cNvPr id="0" name=""/>
        <dsp:cNvSpPr/>
      </dsp:nvSpPr>
      <dsp:spPr>
        <a:xfrm>
          <a:off x="247165" y="1209025"/>
          <a:ext cx="449392" cy="449392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4DADF97-785F-4D91-AD90-A921353749E4}">
      <dsp:nvSpPr>
        <dsp:cNvPr id="0" name=""/>
        <dsp:cNvSpPr/>
      </dsp:nvSpPr>
      <dsp:spPr>
        <a:xfrm>
          <a:off x="943724" y="1025182"/>
          <a:ext cx="7512888" cy="81707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6474" tIns="86474" rIns="86474" bIns="86474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Integrates data drift detection, data quality profiling, and model performance tracking</a:t>
          </a:r>
        </a:p>
      </dsp:txBody>
      <dsp:txXfrm>
        <a:off x="943724" y="1025182"/>
        <a:ext cx="7512888" cy="817077"/>
      </dsp:txXfrm>
    </dsp:sp>
    <dsp:sp modelId="{A3DB6DF7-75C9-4E2E-B2DE-26FB9E81C3F0}">
      <dsp:nvSpPr>
        <dsp:cNvPr id="0" name=""/>
        <dsp:cNvSpPr/>
      </dsp:nvSpPr>
      <dsp:spPr>
        <a:xfrm>
          <a:off x="0" y="2046529"/>
          <a:ext cx="8456613" cy="817077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AB11F35-037B-43E4-8B20-A232449CAA47}">
      <dsp:nvSpPr>
        <dsp:cNvPr id="0" name=""/>
        <dsp:cNvSpPr/>
      </dsp:nvSpPr>
      <dsp:spPr>
        <a:xfrm>
          <a:off x="247165" y="2230372"/>
          <a:ext cx="449392" cy="449392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F022A99-120C-4AA4-8CDB-5D14CBB4614D}">
      <dsp:nvSpPr>
        <dsp:cNvPr id="0" name=""/>
        <dsp:cNvSpPr/>
      </dsp:nvSpPr>
      <dsp:spPr>
        <a:xfrm>
          <a:off x="943724" y="2046529"/>
          <a:ext cx="7512888" cy="81707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6474" tIns="86474" rIns="86474" bIns="86474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Enables teams to proactively manage model reliability and regulatory compliance</a:t>
          </a:r>
        </a:p>
      </dsp:txBody>
      <dsp:txXfrm>
        <a:off x="943724" y="2046529"/>
        <a:ext cx="7512888" cy="817077"/>
      </dsp:txXfrm>
    </dsp:sp>
    <dsp:sp modelId="{D1CE2EB7-5C8B-41C9-9A9E-DAF3CE30444A}">
      <dsp:nvSpPr>
        <dsp:cNvPr id="0" name=""/>
        <dsp:cNvSpPr/>
      </dsp:nvSpPr>
      <dsp:spPr>
        <a:xfrm>
          <a:off x="0" y="3067876"/>
          <a:ext cx="8456613" cy="817077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B6ED029-867A-4CEB-9E4F-22E1BEA137E5}">
      <dsp:nvSpPr>
        <dsp:cNvPr id="0" name=""/>
        <dsp:cNvSpPr/>
      </dsp:nvSpPr>
      <dsp:spPr>
        <a:xfrm>
          <a:off x="247165" y="3251719"/>
          <a:ext cx="449392" cy="449392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A781466-86E9-4F90-8BBF-5DE9A830D9A6}">
      <dsp:nvSpPr>
        <dsp:cNvPr id="0" name=""/>
        <dsp:cNvSpPr/>
      </dsp:nvSpPr>
      <dsp:spPr>
        <a:xfrm>
          <a:off x="943724" y="3067876"/>
          <a:ext cx="7512888" cy="81707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6474" tIns="86474" rIns="86474" bIns="86474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Offers a platform-agnostic, modular SDK design compatible with diverse environments</a:t>
          </a:r>
        </a:p>
      </dsp:txBody>
      <dsp:txXfrm>
        <a:off x="943724" y="3067876"/>
        <a:ext cx="7512888" cy="817077"/>
      </dsp:txXfrm>
    </dsp:sp>
    <dsp:sp modelId="{6325ED0D-2D97-4788-9280-DDA302ADED2D}">
      <dsp:nvSpPr>
        <dsp:cNvPr id="0" name=""/>
        <dsp:cNvSpPr/>
      </dsp:nvSpPr>
      <dsp:spPr>
        <a:xfrm>
          <a:off x="0" y="4089223"/>
          <a:ext cx="8456613" cy="817077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D6A3461-CFC3-4866-B298-1FF8793FD4E4}">
      <dsp:nvSpPr>
        <dsp:cNvPr id="0" name=""/>
        <dsp:cNvSpPr/>
      </dsp:nvSpPr>
      <dsp:spPr>
        <a:xfrm>
          <a:off x="247165" y="4273065"/>
          <a:ext cx="449392" cy="449392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C3EB6CD-530D-41AB-8BEC-364D7E502BBE}">
      <dsp:nvSpPr>
        <dsp:cNvPr id="0" name=""/>
        <dsp:cNvSpPr/>
      </dsp:nvSpPr>
      <dsp:spPr>
        <a:xfrm>
          <a:off x="943724" y="4089223"/>
          <a:ext cx="7512888" cy="81707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6474" tIns="86474" rIns="86474" bIns="86474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Supports delivery of trustworthy, efficient ML systems aligning with evolving business needs</a:t>
          </a:r>
        </a:p>
      </dsp:txBody>
      <dsp:txXfrm>
        <a:off x="943724" y="4089223"/>
        <a:ext cx="7512888" cy="81707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88B3058-007E-42C9-970E-03E15849516C}">
      <dsp:nvSpPr>
        <dsp:cNvPr id="0" name=""/>
        <dsp:cNvSpPr/>
      </dsp:nvSpPr>
      <dsp:spPr>
        <a:xfrm>
          <a:off x="0" y="354"/>
          <a:ext cx="8663750" cy="487872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BCE9855-A625-428E-AB67-11A147F0A907}">
      <dsp:nvSpPr>
        <dsp:cNvPr id="0" name=""/>
        <dsp:cNvSpPr/>
      </dsp:nvSpPr>
      <dsp:spPr>
        <a:xfrm>
          <a:off x="147581" y="110125"/>
          <a:ext cx="268329" cy="268329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998BADA-B72D-4AE7-9438-E1D08A809484}">
      <dsp:nvSpPr>
        <dsp:cNvPr id="0" name=""/>
        <dsp:cNvSpPr/>
      </dsp:nvSpPr>
      <dsp:spPr>
        <a:xfrm>
          <a:off x="563492" y="354"/>
          <a:ext cx="8100257" cy="4878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1633" tIns="51633" rIns="51633" bIns="51633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Automates detection of data drift, ensuring model relevance in production</a:t>
          </a:r>
        </a:p>
      </dsp:txBody>
      <dsp:txXfrm>
        <a:off x="563492" y="354"/>
        <a:ext cx="8100257" cy="487872"/>
      </dsp:txXfrm>
    </dsp:sp>
    <dsp:sp modelId="{2AB76764-6CE0-4FDB-A902-61DBF2074212}">
      <dsp:nvSpPr>
        <dsp:cNvPr id="0" name=""/>
        <dsp:cNvSpPr/>
      </dsp:nvSpPr>
      <dsp:spPr>
        <a:xfrm>
          <a:off x="0" y="610194"/>
          <a:ext cx="8663750" cy="487872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4B53168-70D0-478F-93D9-4FDB49EE9D73}">
      <dsp:nvSpPr>
        <dsp:cNvPr id="0" name=""/>
        <dsp:cNvSpPr/>
      </dsp:nvSpPr>
      <dsp:spPr>
        <a:xfrm>
          <a:off x="147581" y="719965"/>
          <a:ext cx="268329" cy="268329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ED7C835-98BA-4498-B302-32A2B641536E}">
      <dsp:nvSpPr>
        <dsp:cNvPr id="0" name=""/>
        <dsp:cNvSpPr/>
      </dsp:nvSpPr>
      <dsp:spPr>
        <a:xfrm>
          <a:off x="563492" y="610194"/>
          <a:ext cx="8100257" cy="4878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1633" tIns="51633" rIns="51633" bIns="51633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Monitors data quality metrics continuously to maintain integrity</a:t>
          </a:r>
        </a:p>
      </dsp:txBody>
      <dsp:txXfrm>
        <a:off x="563492" y="610194"/>
        <a:ext cx="8100257" cy="487872"/>
      </dsp:txXfrm>
    </dsp:sp>
    <dsp:sp modelId="{018E4AD8-D7F0-4A2E-8252-808DEF89C969}">
      <dsp:nvSpPr>
        <dsp:cNvPr id="0" name=""/>
        <dsp:cNvSpPr/>
      </dsp:nvSpPr>
      <dsp:spPr>
        <a:xfrm>
          <a:off x="0" y="1220035"/>
          <a:ext cx="8663750" cy="487872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29D279B-B4F6-4975-9B91-61FD4329857C}">
      <dsp:nvSpPr>
        <dsp:cNvPr id="0" name=""/>
        <dsp:cNvSpPr/>
      </dsp:nvSpPr>
      <dsp:spPr>
        <a:xfrm>
          <a:off x="147581" y="1329806"/>
          <a:ext cx="268329" cy="268329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C6DCEFA-072F-4EBE-8DC5-77F8248D9945}">
      <dsp:nvSpPr>
        <dsp:cNvPr id="0" name=""/>
        <dsp:cNvSpPr/>
      </dsp:nvSpPr>
      <dsp:spPr>
        <a:xfrm>
          <a:off x="563492" y="1220035"/>
          <a:ext cx="8100257" cy="4878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1633" tIns="51633" rIns="51633" bIns="51633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Tracks comprehensive model performance metrics to assess accuracy and fairness</a:t>
          </a:r>
        </a:p>
      </dsp:txBody>
      <dsp:txXfrm>
        <a:off x="563492" y="1220035"/>
        <a:ext cx="8100257" cy="487872"/>
      </dsp:txXfrm>
    </dsp:sp>
    <dsp:sp modelId="{DB08AE8C-5BF4-4DE8-B0A5-41A41C3071B1}">
      <dsp:nvSpPr>
        <dsp:cNvPr id="0" name=""/>
        <dsp:cNvSpPr/>
      </dsp:nvSpPr>
      <dsp:spPr>
        <a:xfrm>
          <a:off x="0" y="1829875"/>
          <a:ext cx="8663750" cy="487872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B3C9E56-A332-4B3C-A185-81A385390DF5}">
      <dsp:nvSpPr>
        <dsp:cNvPr id="0" name=""/>
        <dsp:cNvSpPr/>
      </dsp:nvSpPr>
      <dsp:spPr>
        <a:xfrm>
          <a:off x="147581" y="1939646"/>
          <a:ext cx="268329" cy="268329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98C069F-BACE-4DF0-9D7D-9144EB860054}">
      <dsp:nvSpPr>
        <dsp:cNvPr id="0" name=""/>
        <dsp:cNvSpPr/>
      </dsp:nvSpPr>
      <dsp:spPr>
        <a:xfrm>
          <a:off x="563492" y="1829875"/>
          <a:ext cx="8100257" cy="4878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1633" tIns="51633" rIns="51633" bIns="51633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Supports multiple data formats and integrates with MLflow, pickle artifacts, and data pipelines</a:t>
          </a:r>
        </a:p>
      </dsp:txBody>
      <dsp:txXfrm>
        <a:off x="563492" y="1829875"/>
        <a:ext cx="8100257" cy="487872"/>
      </dsp:txXfrm>
    </dsp:sp>
    <dsp:sp modelId="{5CB51187-4DA8-495C-9E8A-35B2283AA8D2}">
      <dsp:nvSpPr>
        <dsp:cNvPr id="0" name=""/>
        <dsp:cNvSpPr/>
      </dsp:nvSpPr>
      <dsp:spPr>
        <a:xfrm>
          <a:off x="0" y="2439715"/>
          <a:ext cx="8663750" cy="487872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E54C969-ECA1-4485-A22D-ECFAF9377669}">
      <dsp:nvSpPr>
        <dsp:cNvPr id="0" name=""/>
        <dsp:cNvSpPr/>
      </dsp:nvSpPr>
      <dsp:spPr>
        <a:xfrm>
          <a:off x="147581" y="2549486"/>
          <a:ext cx="268329" cy="268329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383A7DF-484D-4502-A1B8-9BA5CDC478DF}">
      <dsp:nvSpPr>
        <dsp:cNvPr id="0" name=""/>
        <dsp:cNvSpPr/>
      </dsp:nvSpPr>
      <dsp:spPr>
        <a:xfrm>
          <a:off x="563492" y="2439715"/>
          <a:ext cx="8100257" cy="4878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1633" tIns="51633" rIns="51633" bIns="51633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Enables real-time observability and governance for proactive feature shift detection</a:t>
          </a:r>
        </a:p>
      </dsp:txBody>
      <dsp:txXfrm>
        <a:off x="563492" y="2439715"/>
        <a:ext cx="8100257" cy="487872"/>
      </dsp:txXfrm>
    </dsp:sp>
    <dsp:sp modelId="{0A8FA46D-45DC-4BED-B36A-C1519B9C38FF}">
      <dsp:nvSpPr>
        <dsp:cNvPr id="0" name=""/>
        <dsp:cNvSpPr/>
      </dsp:nvSpPr>
      <dsp:spPr>
        <a:xfrm>
          <a:off x="0" y="3049556"/>
          <a:ext cx="8663750" cy="487872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831A547-3107-4BDC-A4C4-C0D728EFA951}">
      <dsp:nvSpPr>
        <dsp:cNvPr id="0" name=""/>
        <dsp:cNvSpPr/>
      </dsp:nvSpPr>
      <dsp:spPr>
        <a:xfrm>
          <a:off x="147581" y="3159327"/>
          <a:ext cx="268329" cy="268329"/>
        </a:xfrm>
        <a:prstGeom prst="rect">
          <a:avLst/>
        </a:prstGeom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14EA7DF-71EB-4661-973E-4DAC5B14228F}">
      <dsp:nvSpPr>
        <dsp:cNvPr id="0" name=""/>
        <dsp:cNvSpPr/>
      </dsp:nvSpPr>
      <dsp:spPr>
        <a:xfrm>
          <a:off x="563492" y="3049556"/>
          <a:ext cx="8100257" cy="4878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1633" tIns="51633" rIns="51633" bIns="51633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Exports consolidated monitoring reports facilitating transparency and regulatory compliance</a:t>
          </a:r>
        </a:p>
      </dsp:txBody>
      <dsp:txXfrm>
        <a:off x="563492" y="3049556"/>
        <a:ext cx="8100257" cy="487872"/>
      </dsp:txXfrm>
    </dsp:sp>
    <dsp:sp modelId="{5A8A109C-48AA-43DD-AF20-FD718C99E07B}">
      <dsp:nvSpPr>
        <dsp:cNvPr id="0" name=""/>
        <dsp:cNvSpPr/>
      </dsp:nvSpPr>
      <dsp:spPr>
        <a:xfrm>
          <a:off x="0" y="3659396"/>
          <a:ext cx="8663750" cy="487872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0595394-8785-44A9-A5F6-4376091B465D}">
      <dsp:nvSpPr>
        <dsp:cNvPr id="0" name=""/>
        <dsp:cNvSpPr/>
      </dsp:nvSpPr>
      <dsp:spPr>
        <a:xfrm>
          <a:off x="147581" y="3769167"/>
          <a:ext cx="268329" cy="268329"/>
        </a:xfrm>
        <a:prstGeom prst="rect">
          <a:avLst/>
        </a:prstGeom>
        <a:blipFill>
          <a:blip xmlns:r="http://schemas.openxmlformats.org/officeDocument/2006/relationships"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B18D0DD-C851-43D6-BF7D-C72B4A693062}">
      <dsp:nvSpPr>
        <dsp:cNvPr id="0" name=""/>
        <dsp:cNvSpPr/>
      </dsp:nvSpPr>
      <dsp:spPr>
        <a:xfrm>
          <a:off x="563492" y="3659396"/>
          <a:ext cx="8100257" cy="4878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1633" tIns="51633" rIns="51633" bIns="51633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Ensures sustained trust and compliance in automated decision-making systems</a:t>
          </a:r>
        </a:p>
      </dsp:txBody>
      <dsp:txXfrm>
        <a:off x="563492" y="3659396"/>
        <a:ext cx="8100257" cy="48787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2FB4B3D-289D-498C-82D4-D0DAABBB971D}">
      <dsp:nvSpPr>
        <dsp:cNvPr id="0" name=""/>
        <dsp:cNvSpPr/>
      </dsp:nvSpPr>
      <dsp:spPr>
        <a:xfrm>
          <a:off x="0" y="1463"/>
          <a:ext cx="8762379" cy="62363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C3384A9-3D45-4F89-91EC-282A154DB90D}">
      <dsp:nvSpPr>
        <dsp:cNvPr id="0" name=""/>
        <dsp:cNvSpPr/>
      </dsp:nvSpPr>
      <dsp:spPr>
        <a:xfrm>
          <a:off x="188648" y="141780"/>
          <a:ext cx="342996" cy="342996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B04BAD5-A0CA-4CA3-AC4B-F67858696B1B}">
      <dsp:nvSpPr>
        <dsp:cNvPr id="0" name=""/>
        <dsp:cNvSpPr/>
      </dsp:nvSpPr>
      <dsp:spPr>
        <a:xfrm>
          <a:off x="720293" y="1463"/>
          <a:ext cx="8042085" cy="6236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6001" tIns="66001" rIns="66001" bIns="66001" numCol="1" spcCol="1270" anchor="ctr" anchorCtr="0">
          <a:noAutofit/>
        </a:bodyPr>
        <a:lstStyle/>
        <a:p>
          <a:pPr marL="0" lvl="0" indent="0" algn="l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Data Scientists monitor feature drift and model accuracy in real time to maintain model performance.</a:t>
          </a:r>
        </a:p>
      </dsp:txBody>
      <dsp:txXfrm>
        <a:off x="720293" y="1463"/>
        <a:ext cx="8042085" cy="623630"/>
      </dsp:txXfrm>
    </dsp:sp>
    <dsp:sp modelId="{A9F957DF-ADB9-4C65-BE0B-DD871E2D10B3}">
      <dsp:nvSpPr>
        <dsp:cNvPr id="0" name=""/>
        <dsp:cNvSpPr/>
      </dsp:nvSpPr>
      <dsp:spPr>
        <a:xfrm>
          <a:off x="0" y="781001"/>
          <a:ext cx="8762379" cy="62363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5F68E8B-D95C-49B6-9B2F-2EB981ADCFBA}">
      <dsp:nvSpPr>
        <dsp:cNvPr id="0" name=""/>
        <dsp:cNvSpPr/>
      </dsp:nvSpPr>
      <dsp:spPr>
        <a:xfrm>
          <a:off x="188648" y="921318"/>
          <a:ext cx="342996" cy="342996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83A542B-F7C2-46A6-BFA9-12921CFD7FA3}">
      <dsp:nvSpPr>
        <dsp:cNvPr id="0" name=""/>
        <dsp:cNvSpPr/>
      </dsp:nvSpPr>
      <dsp:spPr>
        <a:xfrm>
          <a:off x="720293" y="781001"/>
          <a:ext cx="8042085" cy="6236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6001" tIns="66001" rIns="66001" bIns="66001" numCol="1" spcCol="1270" anchor="ctr" anchorCtr="0">
          <a:noAutofit/>
        </a:bodyPr>
        <a:lstStyle/>
        <a:p>
          <a:pPr marL="0" lvl="0" indent="0" algn="l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MLOps Engineers automate retraining triggers and build governance dashboards for streamlined model management.</a:t>
          </a:r>
        </a:p>
      </dsp:txBody>
      <dsp:txXfrm>
        <a:off x="720293" y="781001"/>
        <a:ext cx="8042085" cy="623630"/>
      </dsp:txXfrm>
    </dsp:sp>
    <dsp:sp modelId="{D91E6550-C24B-4E6D-91F5-34A1653AF088}">
      <dsp:nvSpPr>
        <dsp:cNvPr id="0" name=""/>
        <dsp:cNvSpPr/>
      </dsp:nvSpPr>
      <dsp:spPr>
        <a:xfrm>
          <a:off x="0" y="1560540"/>
          <a:ext cx="8762379" cy="62363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D1C20D1-86A5-47C7-96A9-1C3876E8CE4B}">
      <dsp:nvSpPr>
        <dsp:cNvPr id="0" name=""/>
        <dsp:cNvSpPr/>
      </dsp:nvSpPr>
      <dsp:spPr>
        <a:xfrm>
          <a:off x="188648" y="1700856"/>
          <a:ext cx="342996" cy="342996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0E1CA13-4EA3-421A-B5FA-216EF420D834}">
      <dsp:nvSpPr>
        <dsp:cNvPr id="0" name=""/>
        <dsp:cNvSpPr/>
      </dsp:nvSpPr>
      <dsp:spPr>
        <a:xfrm>
          <a:off x="720293" y="1560540"/>
          <a:ext cx="8042085" cy="6236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6001" tIns="66001" rIns="66001" bIns="66001" numCol="1" spcCol="1270" anchor="ctr" anchorCtr="0">
          <a:noAutofit/>
        </a:bodyPr>
        <a:lstStyle/>
        <a:p>
          <a:pPr marL="0" lvl="0" indent="0" algn="l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Data Engineers ensure pipeline data quality and reliability, validating inputs for robust ML workflows.</a:t>
          </a:r>
        </a:p>
      </dsp:txBody>
      <dsp:txXfrm>
        <a:off x="720293" y="1560540"/>
        <a:ext cx="8042085" cy="623630"/>
      </dsp:txXfrm>
    </dsp:sp>
    <dsp:sp modelId="{254B121D-9B27-48F4-A03D-525BAAB05F5B}">
      <dsp:nvSpPr>
        <dsp:cNvPr id="0" name=""/>
        <dsp:cNvSpPr/>
      </dsp:nvSpPr>
      <dsp:spPr>
        <a:xfrm>
          <a:off x="0" y="2340078"/>
          <a:ext cx="8762379" cy="62363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8099EDB-B279-4F17-BD9E-6459BDF37BB7}">
      <dsp:nvSpPr>
        <dsp:cNvPr id="0" name=""/>
        <dsp:cNvSpPr/>
      </dsp:nvSpPr>
      <dsp:spPr>
        <a:xfrm>
          <a:off x="188648" y="2480395"/>
          <a:ext cx="342996" cy="342996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EE3CDBC-ED49-410E-9B2A-0CC34242B3F8}">
      <dsp:nvSpPr>
        <dsp:cNvPr id="0" name=""/>
        <dsp:cNvSpPr/>
      </dsp:nvSpPr>
      <dsp:spPr>
        <a:xfrm>
          <a:off x="720293" y="2340078"/>
          <a:ext cx="8042085" cy="6236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6001" tIns="66001" rIns="66001" bIns="66001" numCol="1" spcCol="1270" anchor="ctr" anchorCtr="0">
          <a:noAutofit/>
        </a:bodyPr>
        <a:lstStyle/>
        <a:p>
          <a:pPr marL="0" lvl="0" indent="0" algn="l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Business Analysts translate monitoring results into actionable insights linked to KPIs and business goals.</a:t>
          </a:r>
        </a:p>
      </dsp:txBody>
      <dsp:txXfrm>
        <a:off x="720293" y="2340078"/>
        <a:ext cx="8042085" cy="623630"/>
      </dsp:txXfrm>
    </dsp:sp>
    <dsp:sp modelId="{738B2FE2-ACF6-42F4-9C4B-7B990AF90428}">
      <dsp:nvSpPr>
        <dsp:cNvPr id="0" name=""/>
        <dsp:cNvSpPr/>
      </dsp:nvSpPr>
      <dsp:spPr>
        <a:xfrm>
          <a:off x="0" y="3119616"/>
          <a:ext cx="8762379" cy="62363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9EF75FC-DCC5-4BFD-BAB4-0F577A66B5F8}">
      <dsp:nvSpPr>
        <dsp:cNvPr id="0" name=""/>
        <dsp:cNvSpPr/>
      </dsp:nvSpPr>
      <dsp:spPr>
        <a:xfrm>
          <a:off x="188648" y="3259933"/>
          <a:ext cx="342996" cy="342996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512510C-8A16-4B86-9F4E-177176975F1A}">
      <dsp:nvSpPr>
        <dsp:cNvPr id="0" name=""/>
        <dsp:cNvSpPr/>
      </dsp:nvSpPr>
      <dsp:spPr>
        <a:xfrm>
          <a:off x="720293" y="3119616"/>
          <a:ext cx="8042085" cy="6236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6001" tIns="66001" rIns="66001" bIns="66001" numCol="1" spcCol="1270" anchor="ctr" anchorCtr="0">
          <a:noAutofit/>
        </a:bodyPr>
        <a:lstStyle/>
        <a:p>
          <a:pPr marL="0" lvl="0" indent="0" algn="l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Compliance Teams verify auditability, fairness, and regulatory documentation to maintain ethical standards.</a:t>
          </a:r>
        </a:p>
      </dsp:txBody>
      <dsp:txXfrm>
        <a:off x="720293" y="3119616"/>
        <a:ext cx="8042085" cy="623630"/>
      </dsp:txXfrm>
    </dsp:sp>
    <dsp:sp modelId="{B3232C2F-16CA-4C40-BECD-D6E1FB55834C}">
      <dsp:nvSpPr>
        <dsp:cNvPr id="0" name=""/>
        <dsp:cNvSpPr/>
      </dsp:nvSpPr>
      <dsp:spPr>
        <a:xfrm>
          <a:off x="0" y="3899154"/>
          <a:ext cx="8762379" cy="62363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087ACDA-53C6-4495-A96E-5A7CFC682F63}">
      <dsp:nvSpPr>
        <dsp:cNvPr id="0" name=""/>
        <dsp:cNvSpPr/>
      </dsp:nvSpPr>
      <dsp:spPr>
        <a:xfrm>
          <a:off x="188648" y="4039471"/>
          <a:ext cx="342996" cy="342996"/>
        </a:xfrm>
        <a:prstGeom prst="rect">
          <a:avLst/>
        </a:prstGeom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A1FC33B-99A0-4F16-89D7-16130329BB4A}">
      <dsp:nvSpPr>
        <dsp:cNvPr id="0" name=""/>
        <dsp:cNvSpPr/>
      </dsp:nvSpPr>
      <dsp:spPr>
        <a:xfrm>
          <a:off x="720293" y="3899154"/>
          <a:ext cx="8042085" cy="6236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6001" tIns="66001" rIns="66001" bIns="66001" numCol="1" spcCol="1270" anchor="ctr" anchorCtr="0">
          <a:noAutofit/>
        </a:bodyPr>
        <a:lstStyle/>
        <a:p>
          <a:pPr marL="0" lvl="0" indent="0" algn="l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This cross-functional targeting fosters collaboration and shared responsibility for sustained ML system health.</a:t>
          </a:r>
        </a:p>
      </dsp:txBody>
      <dsp:txXfrm>
        <a:off x="720293" y="3899154"/>
        <a:ext cx="8042085" cy="62363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48EE024-B985-47C1-B38E-91043804035E}">
      <dsp:nvSpPr>
        <dsp:cNvPr id="0" name=""/>
        <dsp:cNvSpPr/>
      </dsp:nvSpPr>
      <dsp:spPr>
        <a:xfrm>
          <a:off x="0" y="3150"/>
          <a:ext cx="8677275" cy="671033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7682415-1D24-4E53-8D92-35EC7BF325F7}">
      <dsp:nvSpPr>
        <dsp:cNvPr id="0" name=""/>
        <dsp:cNvSpPr/>
      </dsp:nvSpPr>
      <dsp:spPr>
        <a:xfrm>
          <a:off x="202987" y="154133"/>
          <a:ext cx="369068" cy="369068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5E02FF4-9A31-4D21-A22C-B2CE22287812}">
      <dsp:nvSpPr>
        <dsp:cNvPr id="0" name=""/>
        <dsp:cNvSpPr/>
      </dsp:nvSpPr>
      <dsp:spPr>
        <a:xfrm>
          <a:off x="775044" y="3150"/>
          <a:ext cx="7902230" cy="6710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018" tIns="71018" rIns="71018" bIns="71018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Provides a robust and scalable foundation for high-quality ML operations</a:t>
          </a:r>
        </a:p>
      </dsp:txBody>
      <dsp:txXfrm>
        <a:off x="775044" y="3150"/>
        <a:ext cx="7902230" cy="671033"/>
      </dsp:txXfrm>
    </dsp:sp>
    <dsp:sp modelId="{3B687AE5-BC8E-48F0-B183-B3479E31B497}">
      <dsp:nvSpPr>
        <dsp:cNvPr id="0" name=""/>
        <dsp:cNvSpPr/>
      </dsp:nvSpPr>
      <dsp:spPr>
        <a:xfrm>
          <a:off x="0" y="841942"/>
          <a:ext cx="8677275" cy="671033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239435E-0EE8-4FE6-BE01-8F7C2617DA6F}">
      <dsp:nvSpPr>
        <dsp:cNvPr id="0" name=""/>
        <dsp:cNvSpPr/>
      </dsp:nvSpPr>
      <dsp:spPr>
        <a:xfrm>
          <a:off x="202987" y="992925"/>
          <a:ext cx="369068" cy="369068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4DADF97-785F-4D91-AD90-A921353749E4}">
      <dsp:nvSpPr>
        <dsp:cNvPr id="0" name=""/>
        <dsp:cNvSpPr/>
      </dsp:nvSpPr>
      <dsp:spPr>
        <a:xfrm>
          <a:off x="775044" y="841942"/>
          <a:ext cx="7902230" cy="6710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018" tIns="71018" rIns="71018" bIns="71018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Integrates data drift detection, data quality profiling, and model performance tracking</a:t>
          </a:r>
        </a:p>
      </dsp:txBody>
      <dsp:txXfrm>
        <a:off x="775044" y="841942"/>
        <a:ext cx="7902230" cy="671033"/>
      </dsp:txXfrm>
    </dsp:sp>
    <dsp:sp modelId="{A3DB6DF7-75C9-4E2E-B2DE-26FB9E81C3F0}">
      <dsp:nvSpPr>
        <dsp:cNvPr id="0" name=""/>
        <dsp:cNvSpPr/>
      </dsp:nvSpPr>
      <dsp:spPr>
        <a:xfrm>
          <a:off x="0" y="1680735"/>
          <a:ext cx="8677275" cy="671033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AB11F35-037B-43E4-8B20-A232449CAA47}">
      <dsp:nvSpPr>
        <dsp:cNvPr id="0" name=""/>
        <dsp:cNvSpPr/>
      </dsp:nvSpPr>
      <dsp:spPr>
        <a:xfrm>
          <a:off x="202987" y="1831717"/>
          <a:ext cx="369068" cy="369068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F022A99-120C-4AA4-8CDB-5D14CBB4614D}">
      <dsp:nvSpPr>
        <dsp:cNvPr id="0" name=""/>
        <dsp:cNvSpPr/>
      </dsp:nvSpPr>
      <dsp:spPr>
        <a:xfrm>
          <a:off x="775044" y="1680735"/>
          <a:ext cx="7902230" cy="6710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018" tIns="71018" rIns="71018" bIns="71018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Enables teams to proactively manage model reliability and regulatory compliance</a:t>
          </a:r>
        </a:p>
      </dsp:txBody>
      <dsp:txXfrm>
        <a:off x="775044" y="1680735"/>
        <a:ext cx="7902230" cy="671033"/>
      </dsp:txXfrm>
    </dsp:sp>
    <dsp:sp modelId="{D1CE2EB7-5C8B-41C9-9A9E-DAF3CE30444A}">
      <dsp:nvSpPr>
        <dsp:cNvPr id="0" name=""/>
        <dsp:cNvSpPr/>
      </dsp:nvSpPr>
      <dsp:spPr>
        <a:xfrm>
          <a:off x="0" y="2519527"/>
          <a:ext cx="8677275" cy="671033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B6ED029-867A-4CEB-9E4F-22E1BEA137E5}">
      <dsp:nvSpPr>
        <dsp:cNvPr id="0" name=""/>
        <dsp:cNvSpPr/>
      </dsp:nvSpPr>
      <dsp:spPr>
        <a:xfrm>
          <a:off x="202987" y="2670510"/>
          <a:ext cx="369068" cy="369068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A781466-86E9-4F90-8BBF-5DE9A830D9A6}">
      <dsp:nvSpPr>
        <dsp:cNvPr id="0" name=""/>
        <dsp:cNvSpPr/>
      </dsp:nvSpPr>
      <dsp:spPr>
        <a:xfrm>
          <a:off x="775044" y="2519527"/>
          <a:ext cx="7902230" cy="6710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018" tIns="71018" rIns="71018" bIns="71018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Offers a platform-agnostic, modular SDK design compatible with diverse environments</a:t>
          </a:r>
        </a:p>
      </dsp:txBody>
      <dsp:txXfrm>
        <a:off x="775044" y="2519527"/>
        <a:ext cx="7902230" cy="671033"/>
      </dsp:txXfrm>
    </dsp:sp>
    <dsp:sp modelId="{6325ED0D-2D97-4788-9280-DDA302ADED2D}">
      <dsp:nvSpPr>
        <dsp:cNvPr id="0" name=""/>
        <dsp:cNvSpPr/>
      </dsp:nvSpPr>
      <dsp:spPr>
        <a:xfrm>
          <a:off x="0" y="3358319"/>
          <a:ext cx="8677275" cy="671033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D6A3461-CFC3-4866-B298-1FF8793FD4E4}">
      <dsp:nvSpPr>
        <dsp:cNvPr id="0" name=""/>
        <dsp:cNvSpPr/>
      </dsp:nvSpPr>
      <dsp:spPr>
        <a:xfrm>
          <a:off x="202987" y="3509302"/>
          <a:ext cx="369068" cy="369068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C3EB6CD-530D-41AB-8BEC-364D7E502BBE}">
      <dsp:nvSpPr>
        <dsp:cNvPr id="0" name=""/>
        <dsp:cNvSpPr/>
      </dsp:nvSpPr>
      <dsp:spPr>
        <a:xfrm>
          <a:off x="775044" y="3358319"/>
          <a:ext cx="7902230" cy="6710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018" tIns="71018" rIns="71018" bIns="71018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Supports delivery of trustworthy, efficient ML systems aligning with evolving business needs</a:t>
          </a:r>
        </a:p>
      </dsp:txBody>
      <dsp:txXfrm>
        <a:off x="775044" y="3358319"/>
        <a:ext cx="7902230" cy="671033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5836551-68A0-4C6F-A73B-4963FA53EC67}">
      <dsp:nvSpPr>
        <dsp:cNvPr id="0" name=""/>
        <dsp:cNvSpPr/>
      </dsp:nvSpPr>
      <dsp:spPr>
        <a:xfrm>
          <a:off x="0" y="0"/>
          <a:ext cx="4419968" cy="8838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600" kern="1200"/>
            <a:t>Integrates with popular CI/CD pipelines including Jenkins, GitHub Actions, and Azure DevOps</a:t>
          </a:r>
          <a:endParaRPr lang="en-US" sz="1600" kern="1200"/>
        </a:p>
      </dsp:txBody>
      <dsp:txXfrm>
        <a:off x="25886" y="25886"/>
        <a:ext cx="3362856" cy="832043"/>
      </dsp:txXfrm>
    </dsp:sp>
    <dsp:sp modelId="{7BD0D2A5-0861-4A51-975A-A98515ED9269}">
      <dsp:nvSpPr>
        <dsp:cNvPr id="0" name=""/>
        <dsp:cNvSpPr/>
      </dsp:nvSpPr>
      <dsp:spPr>
        <a:xfrm>
          <a:off x="330062" y="1006567"/>
          <a:ext cx="4419968" cy="8838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600" kern="1200" dirty="0"/>
            <a:t>Supports orchestration tools like Airflow, Databricks Jobs, and Prefect for scheduling monitoring tasks</a:t>
          </a:r>
          <a:endParaRPr lang="en-US" sz="1600" kern="1200" dirty="0"/>
        </a:p>
      </dsp:txBody>
      <dsp:txXfrm>
        <a:off x="355948" y="1032453"/>
        <a:ext cx="3463653" cy="832043"/>
      </dsp:txXfrm>
    </dsp:sp>
    <dsp:sp modelId="{F32DFA8C-AB5F-48D6-9776-A72D4809D485}">
      <dsp:nvSpPr>
        <dsp:cNvPr id="0" name=""/>
        <dsp:cNvSpPr/>
      </dsp:nvSpPr>
      <dsp:spPr>
        <a:xfrm>
          <a:off x="660125" y="2013135"/>
          <a:ext cx="4419968" cy="8838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600" kern="1200"/>
            <a:t>Version control integration via MLflow ensures consistent experiment tracking and artifact management</a:t>
          </a:r>
          <a:endParaRPr lang="en-US" sz="1600" kern="1200"/>
        </a:p>
      </dsp:txBody>
      <dsp:txXfrm>
        <a:off x="686011" y="2039021"/>
        <a:ext cx="3463653" cy="832043"/>
      </dsp:txXfrm>
    </dsp:sp>
    <dsp:sp modelId="{478C8C7F-7DFA-4DB5-9358-0EC3BF59D45B}">
      <dsp:nvSpPr>
        <dsp:cNvPr id="0" name=""/>
        <dsp:cNvSpPr/>
      </dsp:nvSpPr>
      <dsp:spPr>
        <a:xfrm>
          <a:off x="990187" y="3019703"/>
          <a:ext cx="4419968" cy="8838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600" kern="1200"/>
            <a:t>Offers visualization through Evidently dashboards and Power BI plugins for insightful, interactive reporting</a:t>
          </a:r>
          <a:endParaRPr lang="en-US" sz="1600" kern="1200"/>
        </a:p>
      </dsp:txBody>
      <dsp:txXfrm>
        <a:off x="1016073" y="3045589"/>
        <a:ext cx="3463653" cy="832043"/>
      </dsp:txXfrm>
    </dsp:sp>
    <dsp:sp modelId="{677ED6C8-8F70-437D-95D4-A346C037B8BE}">
      <dsp:nvSpPr>
        <dsp:cNvPr id="0" name=""/>
        <dsp:cNvSpPr/>
      </dsp:nvSpPr>
      <dsp:spPr>
        <a:xfrm>
          <a:off x="1320250" y="4026271"/>
          <a:ext cx="4419968" cy="8838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600" kern="1200"/>
            <a:t>Ensures consistent, automated monitoring spanning from model training to production deployment</a:t>
          </a:r>
          <a:endParaRPr lang="en-US" sz="1600" kern="1200"/>
        </a:p>
      </dsp:txBody>
      <dsp:txXfrm>
        <a:off x="1346136" y="4052157"/>
        <a:ext cx="3463653" cy="832043"/>
      </dsp:txXfrm>
    </dsp:sp>
    <dsp:sp modelId="{66273AD7-B584-4F48-AEEB-B0EF32EBC674}">
      <dsp:nvSpPr>
        <dsp:cNvPr id="0" name=""/>
        <dsp:cNvSpPr/>
      </dsp:nvSpPr>
      <dsp:spPr>
        <a:xfrm>
          <a:off x="3845488" y="645676"/>
          <a:ext cx="574480" cy="574480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33020" tIns="33020" rIns="33020" bIns="3302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600" kern="1200"/>
        </a:p>
      </dsp:txBody>
      <dsp:txXfrm>
        <a:off x="3974746" y="645676"/>
        <a:ext cx="315964" cy="432296"/>
      </dsp:txXfrm>
    </dsp:sp>
    <dsp:sp modelId="{DE06D5EE-0355-4C82-AE76-310C11CED252}">
      <dsp:nvSpPr>
        <dsp:cNvPr id="0" name=""/>
        <dsp:cNvSpPr/>
      </dsp:nvSpPr>
      <dsp:spPr>
        <a:xfrm>
          <a:off x="4175551" y="1652244"/>
          <a:ext cx="574480" cy="574480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33020" tIns="33020" rIns="33020" bIns="3302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600" kern="1200"/>
        </a:p>
      </dsp:txBody>
      <dsp:txXfrm>
        <a:off x="4304809" y="1652244"/>
        <a:ext cx="315964" cy="432296"/>
      </dsp:txXfrm>
    </dsp:sp>
    <dsp:sp modelId="{D257B0F1-28D9-4440-93F3-6ABD38FCF1CB}">
      <dsp:nvSpPr>
        <dsp:cNvPr id="0" name=""/>
        <dsp:cNvSpPr/>
      </dsp:nvSpPr>
      <dsp:spPr>
        <a:xfrm>
          <a:off x="4505613" y="2644081"/>
          <a:ext cx="574480" cy="574480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33020" tIns="33020" rIns="33020" bIns="3302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600" kern="1200"/>
        </a:p>
      </dsp:txBody>
      <dsp:txXfrm>
        <a:off x="4634871" y="2644081"/>
        <a:ext cx="315964" cy="432296"/>
      </dsp:txXfrm>
    </dsp:sp>
    <dsp:sp modelId="{9FCF7D8C-6FC0-480D-88FB-5F3CAB966877}">
      <dsp:nvSpPr>
        <dsp:cNvPr id="0" name=""/>
        <dsp:cNvSpPr/>
      </dsp:nvSpPr>
      <dsp:spPr>
        <a:xfrm>
          <a:off x="4835676" y="3660469"/>
          <a:ext cx="574480" cy="574480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33020" tIns="33020" rIns="33020" bIns="3302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600" kern="1200"/>
        </a:p>
      </dsp:txBody>
      <dsp:txXfrm>
        <a:off x="4964934" y="3660469"/>
        <a:ext cx="315964" cy="432296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946737C-FA20-4AD8-B6E9-EF36834C40E1}">
      <dsp:nvSpPr>
        <dsp:cNvPr id="0" name=""/>
        <dsp:cNvSpPr/>
      </dsp:nvSpPr>
      <dsp:spPr>
        <a:xfrm>
          <a:off x="1059284" y="1359"/>
          <a:ext cx="977906" cy="977906"/>
        </a:xfrm>
        <a:prstGeom prst="round2DiagRect">
          <a:avLst>
            <a:gd name="adj1" fmla="val 29727"/>
            <a:gd name="adj2" fmla="val 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4E9E855-BB35-45E8-90C0-FACDC4A56946}">
      <dsp:nvSpPr>
        <dsp:cNvPr id="0" name=""/>
        <dsp:cNvSpPr/>
      </dsp:nvSpPr>
      <dsp:spPr>
        <a:xfrm>
          <a:off x="1267690" y="209766"/>
          <a:ext cx="561093" cy="561093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BE1CCAE-13FB-4541-8220-01D212D3D402}">
      <dsp:nvSpPr>
        <dsp:cNvPr id="0" name=""/>
        <dsp:cNvSpPr/>
      </dsp:nvSpPr>
      <dsp:spPr>
        <a:xfrm>
          <a:off x="746675" y="1283860"/>
          <a:ext cx="1603125" cy="7614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1100" kern="1200"/>
            <a:t>End-to-end monitoring covering data drift, data quality, and model performance within a single platform</a:t>
          </a:r>
        </a:p>
      </dsp:txBody>
      <dsp:txXfrm>
        <a:off x="746675" y="1283860"/>
        <a:ext cx="1603125" cy="761484"/>
      </dsp:txXfrm>
    </dsp:sp>
    <dsp:sp modelId="{8C3342A7-B412-4C34-BF4D-A1C750A041A3}">
      <dsp:nvSpPr>
        <dsp:cNvPr id="0" name=""/>
        <dsp:cNvSpPr/>
      </dsp:nvSpPr>
      <dsp:spPr>
        <a:xfrm>
          <a:off x="2942956" y="1359"/>
          <a:ext cx="977906" cy="977906"/>
        </a:xfrm>
        <a:prstGeom prst="round2DiagRect">
          <a:avLst>
            <a:gd name="adj1" fmla="val 29727"/>
            <a:gd name="adj2" fmla="val 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2446957-E2A7-4A86-8003-60B867ABB92D}">
      <dsp:nvSpPr>
        <dsp:cNvPr id="0" name=""/>
        <dsp:cNvSpPr/>
      </dsp:nvSpPr>
      <dsp:spPr>
        <a:xfrm>
          <a:off x="3151362" y="209766"/>
          <a:ext cx="561093" cy="561093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807E5CD-92C3-45AD-B3B1-D8996FB621B2}">
      <dsp:nvSpPr>
        <dsp:cNvPr id="0" name=""/>
        <dsp:cNvSpPr/>
      </dsp:nvSpPr>
      <dsp:spPr>
        <a:xfrm>
          <a:off x="2630347" y="1283860"/>
          <a:ext cx="1603125" cy="7614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1100" kern="1200"/>
            <a:t>Platform-agnostic support enabling deployment on local, cloud, and Databricks environments</a:t>
          </a:r>
        </a:p>
      </dsp:txBody>
      <dsp:txXfrm>
        <a:off x="2630347" y="1283860"/>
        <a:ext cx="1603125" cy="761484"/>
      </dsp:txXfrm>
    </dsp:sp>
    <dsp:sp modelId="{3565B2CC-C309-4662-BE64-A409C52A96C9}">
      <dsp:nvSpPr>
        <dsp:cNvPr id="0" name=""/>
        <dsp:cNvSpPr/>
      </dsp:nvSpPr>
      <dsp:spPr>
        <a:xfrm>
          <a:off x="4826628" y="1359"/>
          <a:ext cx="977906" cy="977906"/>
        </a:xfrm>
        <a:prstGeom prst="round2DiagRect">
          <a:avLst>
            <a:gd name="adj1" fmla="val 29727"/>
            <a:gd name="adj2" fmla="val 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DE3E329-9F91-487E-B0DE-3A659630B605}">
      <dsp:nvSpPr>
        <dsp:cNvPr id="0" name=""/>
        <dsp:cNvSpPr/>
      </dsp:nvSpPr>
      <dsp:spPr>
        <a:xfrm>
          <a:off x="5035034" y="209766"/>
          <a:ext cx="561093" cy="561093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C35A221-8828-4D19-88F2-670A1FF1068A}">
      <dsp:nvSpPr>
        <dsp:cNvPr id="0" name=""/>
        <dsp:cNvSpPr/>
      </dsp:nvSpPr>
      <dsp:spPr>
        <a:xfrm>
          <a:off x="4514018" y="1283860"/>
          <a:ext cx="1603125" cy="7614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1100" kern="1200"/>
            <a:t>Configurable thresholds that enable governance and alerting without requiring code changes</a:t>
          </a:r>
        </a:p>
      </dsp:txBody>
      <dsp:txXfrm>
        <a:off x="4514018" y="1283860"/>
        <a:ext cx="1603125" cy="761484"/>
      </dsp:txXfrm>
    </dsp:sp>
    <dsp:sp modelId="{A880F5A9-4F47-4BE1-8FA8-8F978A41F7AE}">
      <dsp:nvSpPr>
        <dsp:cNvPr id="0" name=""/>
        <dsp:cNvSpPr/>
      </dsp:nvSpPr>
      <dsp:spPr>
        <a:xfrm>
          <a:off x="6710300" y="1359"/>
          <a:ext cx="977906" cy="977906"/>
        </a:xfrm>
        <a:prstGeom prst="round2DiagRect">
          <a:avLst>
            <a:gd name="adj1" fmla="val 29727"/>
            <a:gd name="adj2" fmla="val 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FCED335-F0A7-4AA1-9934-649A0C82B379}">
      <dsp:nvSpPr>
        <dsp:cNvPr id="0" name=""/>
        <dsp:cNvSpPr/>
      </dsp:nvSpPr>
      <dsp:spPr>
        <a:xfrm>
          <a:off x="6918706" y="209766"/>
          <a:ext cx="561093" cy="561093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8543D8-1B6C-47C3-A5CB-45CF872076A8}">
      <dsp:nvSpPr>
        <dsp:cNvPr id="0" name=""/>
        <dsp:cNvSpPr/>
      </dsp:nvSpPr>
      <dsp:spPr>
        <a:xfrm>
          <a:off x="6397690" y="1283860"/>
          <a:ext cx="1603125" cy="7614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1100" kern="1200"/>
            <a:t>SHAP-based explainability to enhance model transparency and interpretability</a:t>
          </a:r>
        </a:p>
      </dsp:txBody>
      <dsp:txXfrm>
        <a:off x="6397690" y="1283860"/>
        <a:ext cx="1603125" cy="761484"/>
      </dsp:txXfrm>
    </dsp:sp>
    <dsp:sp modelId="{C3BA8A0C-0ECC-46D5-8918-8BD9344B2065}">
      <dsp:nvSpPr>
        <dsp:cNvPr id="0" name=""/>
        <dsp:cNvSpPr/>
      </dsp:nvSpPr>
      <dsp:spPr>
        <a:xfrm>
          <a:off x="1059284" y="2446125"/>
          <a:ext cx="977906" cy="977906"/>
        </a:xfrm>
        <a:prstGeom prst="round2DiagRect">
          <a:avLst>
            <a:gd name="adj1" fmla="val 29727"/>
            <a:gd name="adj2" fmla="val 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F431D87-1FF3-483E-88BF-AF5017B2BCE7}">
      <dsp:nvSpPr>
        <dsp:cNvPr id="0" name=""/>
        <dsp:cNvSpPr/>
      </dsp:nvSpPr>
      <dsp:spPr>
        <a:xfrm>
          <a:off x="1267690" y="2654531"/>
          <a:ext cx="561093" cy="561093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8114ECC-4BD1-4AA3-97F2-817F78A1D5F9}">
      <dsp:nvSpPr>
        <dsp:cNvPr id="0" name=""/>
        <dsp:cNvSpPr/>
      </dsp:nvSpPr>
      <dsp:spPr>
        <a:xfrm>
          <a:off x="746675" y="3728625"/>
          <a:ext cx="1603125" cy="7614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1100" kern="1200"/>
            <a:t>Automated export features centralizing reporting and easing compliance workflows</a:t>
          </a:r>
        </a:p>
      </dsp:txBody>
      <dsp:txXfrm>
        <a:off x="746675" y="3728625"/>
        <a:ext cx="1603125" cy="761484"/>
      </dsp:txXfrm>
    </dsp:sp>
    <dsp:sp modelId="{FCE0E4E6-7070-4AE4-B37C-0B7F48054838}">
      <dsp:nvSpPr>
        <dsp:cNvPr id="0" name=""/>
        <dsp:cNvSpPr/>
      </dsp:nvSpPr>
      <dsp:spPr>
        <a:xfrm>
          <a:off x="2942956" y="2446125"/>
          <a:ext cx="977906" cy="977906"/>
        </a:xfrm>
        <a:prstGeom prst="round2DiagRect">
          <a:avLst>
            <a:gd name="adj1" fmla="val 29727"/>
            <a:gd name="adj2" fmla="val 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AB707C8-AD0D-476E-8DB4-158755EEBBFF}">
      <dsp:nvSpPr>
        <dsp:cNvPr id="0" name=""/>
        <dsp:cNvSpPr/>
      </dsp:nvSpPr>
      <dsp:spPr>
        <a:xfrm>
          <a:off x="3151362" y="2654531"/>
          <a:ext cx="561093" cy="561093"/>
        </a:xfrm>
        <a:prstGeom prst="rect">
          <a:avLst/>
        </a:prstGeom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D37C7F8-644B-466C-A52B-E282647AB696}">
      <dsp:nvSpPr>
        <dsp:cNvPr id="0" name=""/>
        <dsp:cNvSpPr/>
      </dsp:nvSpPr>
      <dsp:spPr>
        <a:xfrm>
          <a:off x="2630347" y="3728625"/>
          <a:ext cx="1603125" cy="7614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1100" kern="1200"/>
            <a:t>Lightweight SDK design facilitating seamless integration into existing ML pipelines</a:t>
          </a:r>
        </a:p>
      </dsp:txBody>
      <dsp:txXfrm>
        <a:off x="2630347" y="3728625"/>
        <a:ext cx="1603125" cy="761484"/>
      </dsp:txXfrm>
    </dsp:sp>
    <dsp:sp modelId="{616EC433-ADA1-4A6F-BA38-5D7F4353424A}">
      <dsp:nvSpPr>
        <dsp:cNvPr id="0" name=""/>
        <dsp:cNvSpPr/>
      </dsp:nvSpPr>
      <dsp:spPr>
        <a:xfrm>
          <a:off x="4826628" y="2446125"/>
          <a:ext cx="977906" cy="977906"/>
        </a:xfrm>
        <a:prstGeom prst="round2DiagRect">
          <a:avLst>
            <a:gd name="adj1" fmla="val 29727"/>
            <a:gd name="adj2" fmla="val 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DB7C937-59AB-4DD6-95D1-BCE54C8715E2}">
      <dsp:nvSpPr>
        <dsp:cNvPr id="0" name=""/>
        <dsp:cNvSpPr/>
      </dsp:nvSpPr>
      <dsp:spPr>
        <a:xfrm>
          <a:off x="5035034" y="2654531"/>
          <a:ext cx="561093" cy="561093"/>
        </a:xfrm>
        <a:prstGeom prst="rect">
          <a:avLst/>
        </a:prstGeom>
        <a:blipFill>
          <a:blip xmlns:r="http://schemas.openxmlformats.org/officeDocument/2006/relationships"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6CFB195-79A6-4DDA-A219-7058DD3524AC}">
      <dsp:nvSpPr>
        <dsp:cNvPr id="0" name=""/>
        <dsp:cNvSpPr/>
      </dsp:nvSpPr>
      <dsp:spPr>
        <a:xfrm>
          <a:off x="4514018" y="3728625"/>
          <a:ext cx="1603125" cy="7614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1100" kern="1200"/>
            <a:t>Audit trail maintenance critical for compliance and traceability</a:t>
          </a:r>
        </a:p>
      </dsp:txBody>
      <dsp:txXfrm>
        <a:off x="4514018" y="3728625"/>
        <a:ext cx="1603125" cy="761484"/>
      </dsp:txXfrm>
    </dsp:sp>
    <dsp:sp modelId="{4983DE65-F326-469D-86A2-B644DB396935}">
      <dsp:nvSpPr>
        <dsp:cNvPr id="0" name=""/>
        <dsp:cNvSpPr/>
      </dsp:nvSpPr>
      <dsp:spPr>
        <a:xfrm>
          <a:off x="6707307" y="2441402"/>
          <a:ext cx="977906" cy="977906"/>
        </a:xfrm>
        <a:prstGeom prst="round2DiagRect">
          <a:avLst>
            <a:gd name="adj1" fmla="val 29727"/>
            <a:gd name="adj2" fmla="val 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D446D09-0080-409F-9BD4-44CE6AD4E8A8}">
      <dsp:nvSpPr>
        <dsp:cNvPr id="0" name=""/>
        <dsp:cNvSpPr/>
      </dsp:nvSpPr>
      <dsp:spPr>
        <a:xfrm>
          <a:off x="6918706" y="2654531"/>
          <a:ext cx="561093" cy="561093"/>
        </a:xfrm>
        <a:prstGeom prst="rect">
          <a:avLst/>
        </a:prstGeom>
        <a:blipFill>
          <a:blip xmlns:r="http://schemas.openxmlformats.org/officeDocument/2006/relationships"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75CB065-7822-4D01-B8B3-FC69A6B49834}">
      <dsp:nvSpPr>
        <dsp:cNvPr id="0" name=""/>
        <dsp:cNvSpPr/>
      </dsp:nvSpPr>
      <dsp:spPr>
        <a:xfrm>
          <a:off x="6555630" y="3729985"/>
          <a:ext cx="1603125" cy="7614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1100" kern="1200" dirty="0"/>
            <a:t>Extensibility allowing addition of new drift tests or quality metrics to meet evolving needs</a:t>
          </a:r>
        </a:p>
      </dsp:txBody>
      <dsp:txXfrm>
        <a:off x="6555630" y="3729985"/>
        <a:ext cx="1603125" cy="76148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CircleList">
  <dgm:title val="Icon Circle List"/>
  <dgm:desc val="Use to show non-sequential or grouped chunks of information accompanied by related visuals. Circular shapes can hold an icon or small picture and corresponding text box shows Level 1 text. Works best for icons or small pictures with medium-length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alg type="sp"/>
    <dgm:shape xmlns:r="http://schemas.openxmlformats.org/officeDocument/2006/relationships" r:blip="">
      <dgm:adjLst/>
    </dgm:shape>
    <dgm:presOf/>
    <dgm:choose name="Name0">
      <dgm:if name="Name1" axis="ch" ptType="node" func="cnt" op="lte" val="3">
        <dgm:constrLst>
          <dgm:constr type="w" for="ch" forName="container" refType="w"/>
          <dgm:constr type="h" for="ch" forName="container" refType="h" fact="0.4"/>
        </dgm:constrLst>
      </dgm:if>
      <dgm:else name="Name2">
        <dgm:constrLst>
          <dgm:constr type="w" for="ch" forName="container" refType="w"/>
          <dgm:constr type="h" for="ch" forName="container" refType="h"/>
        </dgm:constrLst>
      </dgm:else>
    </dgm:choose>
    <dgm:ruleLst>
      <dgm:rule type="h" for="ch" forName="container" val="INF" fact="NaN" max="NaN"/>
    </dgm:ruleLst>
    <dgm:layoutNode name="container">
      <dgm:varLst>
        <dgm:dir/>
        <dgm:resizeHandles val="exact"/>
      </dgm:varLst>
      <dgm:choose name="Name3">
        <dgm:if name="Name4" axis="self" func="var" arg="dir" op="equ" val="norm">
          <dgm:alg type="snake">
            <dgm:param type="grDir" val="tL"/>
            <dgm:param type="flowDir" val="row"/>
            <dgm:param type="contDir" val="sameDir"/>
          </dgm:alg>
        </dgm:if>
        <dgm:else name="Name5">
          <dgm:alg type="snake">
            <dgm:param type="grDir" val="tR"/>
            <dgm:param type="flowDir" val="row"/>
            <dgm:param type="contDir" val="sameDi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w" fact="0.28"/>
        <dgm:constr type="w" for="ch" forName="sibTrans" refType="w" refFor="ch" refForName="compNode" fact="0.115"/>
        <dgm:constr type="sp" refType="h" op="equ" fact="0.17"/>
        <dgm:constr type="primFontSz" for="des" ptType="node" op="equ" val="24"/>
        <dgm:constr type="h" for="des" forName="compNode" op="equ"/>
        <dgm:constr type="h" for="des" forName="iconBgRect" op="equ"/>
      </dgm:constrLst>
      <dgm:ruleLst>
        <dgm:rule type="w" for="ch" forName="compNode" val="60" fact="NaN" max="NaN"/>
      </dgm:ruleLst>
      <dgm:forEach name="Name6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 axis="self"/>
          <dgm:constrLst>
            <dgm:constr type="w" for="ch" forName="iconBgRect" refType="w" fact="0.28"/>
            <dgm:constr type="h" for="ch" forName="iconBgRect" refType="w" refFor="ch" refForName="iconBgRect"/>
            <dgm:constr type="t" for="ch" forName="iconBgRect"/>
            <dgm:constr type="l" for="ch" forName="iconBgRect"/>
            <dgm:constr type="w" for="ch" forName="iconRect" refType="w" refFor="ch" refForName="iconBgRect" fact="0.58"/>
            <dgm:constr type="h" for="ch" forName="iconRect" refType="w" refFor="ch" refForName="iconRect"/>
            <dgm:constr type="ctrX" for="ch" forName="iconRect" refType="ctrX" refFor="ch" refForName="iconBgRect"/>
            <dgm:constr type="ctrY" for="ch" forName="iconRect" refType="ctrY" refFor="ch" refForName="iconBgRect"/>
            <dgm:constr type="w" for="ch" forName="spaceRect" refType="w" fact="0.06"/>
            <dgm:constr type="h" for="ch" forName="spaceRect" refType="h" refFor="ch" refForName="iconBgRect"/>
            <dgm:constr type="t" for="ch" forName="spaceRect" refType="t" refFor="ch" refForName="iconBgRect"/>
            <dgm:constr type="l" for="ch" forName="spaceRect" refType="r" refFor="ch" refForName="iconBgRect"/>
            <dgm:constr type="h" for="ch" forName="textRect" refType="h" refFor="ch" refForName="iconBgRect"/>
            <dgm:constr type="t" for="ch" forName="textRect" refType="t" refFor="ch" refForName="iconBgRect"/>
            <dgm:constr type="l" for="ch" forName="textRect" refType="r" refFor="ch" refForName="spaceRect"/>
          </dgm:constrLst>
          <dgm:ruleLst/>
          <dgm:layoutNode name="iconBgRect" styleLbl="bgShp">
            <dgm:alg type="sp"/>
            <dgm:shape xmlns:r="http://schemas.openxmlformats.org/officeDocument/2006/relationships" type="ellipse" r:blip="">
              <dgm:adjLst/>
            </dgm:shape>
            <dgm:presOf/>
            <dgm:constrLst/>
            <dgm:ruleLst/>
          </dgm:layoutNode>
          <dgm:layoutNode name="iconRect" styleLbl="node1">
            <dgm:alg type="sp"/>
            <dgm:shape xmlns:r="http://schemas.openxmlformats.org/officeDocument/2006/relationships" type="rect" r:blip="" blipPhldr="1">
              <dgm:adjLst/>
            </dgm:shape>
            <dgm:presOf/>
            <dgm:constrLst/>
            <dgm:ruleLst/>
          </dgm:layoutNode>
          <dgm:layoutNode name="spaceRect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textRect" styleLbl="revTx">
            <dgm:varLst>
              <dgm:chMax val="1"/>
              <dgm:chPref val="1"/>
            </dgm:varLst>
            <dgm:choose name="Name7">
              <dgm:if name="Name8" func="var" arg="dir" op="equ" val="norm">
                <dgm:alg type="tx">
                  <dgm:param type="txAnchorVert" val="mid"/>
                  <dgm:param type="parTxLTRAlign" val="l"/>
                  <dgm:param type="shpTxLTRAlignCh" val="l"/>
                  <dgm:param type="parTxRTLAlign" val="l"/>
                  <dgm:param type="shpTxRTLAlignCh" val="l"/>
                </dgm:alg>
              </dgm:if>
              <dgm:else name="Name9">
                <dgm:alg type="tx">
                  <dgm:param type="txAnchorVert" val="mid"/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11" fact="NaN" max="NaN"/>
            </dgm:ruleLst>
          </dgm:layoutNode>
        </dgm:layoutNode>
        <dgm:forEach name="Name10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18/5/layout/IconLeafLabelList">
  <dgm:title val="Icon Leaf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4"/>
          <dgm:constr type="h" for="des" forName="compNode" op="equ"/>
          <dgm:constr type="h" for="des" forName="textRect" op="equ"/>
        </dgm:constrLst>
      </dgm:if>
      <dgm:if name="Name5" axis="ch" ptType="node" func="cnt" op="lte" val="3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0"/>
          <dgm:constr type="h" for="des" forName="compNode" op="equ"/>
          <dgm:constr type="h" for="des" forName="textRect" op="equ"/>
        </dgm:constrLst>
      </dgm:if>
      <dgm:if name="Name6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2"/>
          <dgm:constr type="h" for="des" forName="compNode" op="equ"/>
          <dgm:constr type="h" for="des" forName="textRect" op="equ"/>
        </dgm:constrLst>
      </dgm:if>
      <dgm:else name="Name7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BgRect" refType="w" fact="0.61"/>
          <dgm:constr type="h" for="ch" forName="iconBgRect" refType="w" refFor="ch" refForName="iconBgRect"/>
          <dgm:constr type="t" for="ch" forName="iconBgRect"/>
          <dgm:constr type="ctrX" for="ch" forName="iconBgRect" refType="w" fact="0.5"/>
          <dgm:constr type="w" for="ch" forName="iconRect" refType="w" fact="0.35"/>
          <dgm:constr type="h" for="ch" forName="iconRect" refType="w" refFor="ch" refForName="iconRect"/>
          <dgm:constr type="ctrX" for="ch" forName="iconRect" refType="ctrX" refFor="ch" refForName="iconBgRect"/>
          <dgm:constr type="ctrY" for="ch" forName="iconRect" refType="ctrY" refFor="ch" refForName="iconBgRect"/>
          <dgm:constr type="h" for="ch" forName="spaceRect" refType="w" fact="0.19"/>
          <dgm:constr type="w" for="ch" forName="spaceRect" refType="w"/>
          <dgm:constr type="l" for="ch" forName="spaceRect"/>
          <dgm:constr type="t" for="ch" forName="spaceRect" refType="b" refFor="ch" refForName="iconBg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BgRect" styleLbl="bgShp">
          <dgm:alg type="sp"/>
          <dgm:shape xmlns:r="http://schemas.openxmlformats.org/officeDocument/2006/relationships" type="round2DiagRect" r:blip="">
            <dgm:adjLst/>
            <dgm:extLst>
              <a:ext uri="{B698B0E9-8C71-41B9-8309-B3DCBF30829C}">
                <dgm1612:spPr xmlns:dgm1612="http://schemas.microsoft.com/office/drawing/2016/12/diagram">
                  <a:prstGeom prst="round2DiagRect">
                    <a:avLst>
                      <a:gd name="adj1" fmla="val 29727"/>
                      <a:gd name="adj2" fmla="val 0"/>
                    </a:avLst>
                  </a:prstGeom>
                </dgm1612:spPr>
              </a:ext>
            </dgm:ext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9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cap="all"/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1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sv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sv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sv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sv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sv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sv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sv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sv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svg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sv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2.svg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15.png"/><Relationship Id="rId7" Type="http://schemas.openxmlformats.org/officeDocument/2006/relationships/image" Target="../media/image12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16.sv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2.svg"/><Relationship Id="rId5" Type="http://schemas.openxmlformats.org/officeDocument/2006/relationships/image" Target="../media/image4.png"/><Relationship Id="rId4" Type="http://schemas.openxmlformats.org/officeDocument/2006/relationships/image" Target="../media/image27.sv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2.svg"/><Relationship Id="rId4" Type="http://schemas.openxmlformats.org/officeDocument/2006/relationships/image" Target="../media/image4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7" Type="http://schemas.openxmlformats.org/officeDocument/2006/relationships/image" Target="../media/image30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2.png"/><Relationship Id="rId5" Type="http://schemas.openxmlformats.org/officeDocument/2006/relationships/image" Target="../media/image29.svg"/><Relationship Id="rId4" Type="http://schemas.openxmlformats.org/officeDocument/2006/relationships/image" Target="../media/image10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7" Type="http://schemas.openxmlformats.org/officeDocument/2006/relationships/image" Target="../media/image30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2.png"/><Relationship Id="rId5" Type="http://schemas.openxmlformats.org/officeDocument/2006/relationships/image" Target="../media/image32.svg"/><Relationship Id="rId4" Type="http://schemas.openxmlformats.org/officeDocument/2006/relationships/image" Target="../media/image17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2.svg"/><Relationship Id="rId4" Type="http://schemas.openxmlformats.org/officeDocument/2006/relationships/image" Target="../media/image4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2.svg"/><Relationship Id="rId4" Type="http://schemas.openxmlformats.org/officeDocument/2006/relationships/image" Target="../media/image4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2.svg"/><Relationship Id="rId4" Type="http://schemas.openxmlformats.org/officeDocument/2006/relationships/image" Target="../media/image4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2.svg"/><Relationship Id="rId4" Type="http://schemas.openxmlformats.org/officeDocument/2006/relationships/image" Target="../media/image4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2.svg"/><Relationship Id="rId4" Type="http://schemas.openxmlformats.org/officeDocument/2006/relationships/image" Target="../media/image4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2.svg"/><Relationship Id="rId4" Type="http://schemas.openxmlformats.org/officeDocument/2006/relationships/image" Target="../media/image4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2.svg"/><Relationship Id="rId4" Type="http://schemas.openxmlformats.org/officeDocument/2006/relationships/image" Target="../media/image4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2.svg"/><Relationship Id="rId4" Type="http://schemas.openxmlformats.org/officeDocument/2006/relationships/image" Target="../media/image4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2.svg"/><Relationship Id="rId4" Type="http://schemas.openxmlformats.org/officeDocument/2006/relationships/image" Target="../media/image4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2.svg"/><Relationship Id="rId4" Type="http://schemas.openxmlformats.org/officeDocument/2006/relationships/image" Target="../media/image4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2.svg"/><Relationship Id="rId4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2.sv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4.sv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7.svg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2.svg"/><Relationship Id="rId4" Type="http://schemas.openxmlformats.org/officeDocument/2006/relationships/image" Target="../media/image4.pn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4.svg"/><Relationship Id="rId4" Type="http://schemas.openxmlformats.org/officeDocument/2006/relationships/image" Target="../media/image3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D&amp;T Title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902F3095-EA6E-F94A-AF04-18ED691DEB7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 flipH="1">
            <a:off x="0" y="11729"/>
            <a:ext cx="4860875" cy="6834541"/>
          </a:xfrm>
          <a:custGeom>
            <a:avLst/>
            <a:gdLst>
              <a:gd name="connsiteX0" fmla="*/ 0 w 6462532"/>
              <a:gd name="connsiteY0" fmla="*/ 3052818 h 6105636"/>
              <a:gd name="connsiteX1" fmla="*/ 3052818 w 6462532"/>
              <a:gd name="connsiteY1" fmla="*/ 0 h 6105636"/>
              <a:gd name="connsiteX2" fmla="*/ 3409714 w 6462532"/>
              <a:gd name="connsiteY2" fmla="*/ 0 h 6105636"/>
              <a:gd name="connsiteX3" fmla="*/ 6462532 w 6462532"/>
              <a:gd name="connsiteY3" fmla="*/ 3052818 h 6105636"/>
              <a:gd name="connsiteX4" fmla="*/ 6462532 w 6462532"/>
              <a:gd name="connsiteY4" fmla="*/ 3052818 h 6105636"/>
              <a:gd name="connsiteX5" fmla="*/ 3409714 w 6462532"/>
              <a:gd name="connsiteY5" fmla="*/ 6105636 h 6105636"/>
              <a:gd name="connsiteX6" fmla="*/ 3052818 w 6462532"/>
              <a:gd name="connsiteY6" fmla="*/ 6105636 h 6105636"/>
              <a:gd name="connsiteX7" fmla="*/ 0 w 6462532"/>
              <a:gd name="connsiteY7" fmla="*/ 3052818 h 6105636"/>
              <a:gd name="connsiteX0" fmla="*/ 0 w 7309764"/>
              <a:gd name="connsiteY0" fmla="*/ 3052818 h 6105636"/>
              <a:gd name="connsiteX1" fmla="*/ 3052818 w 7309764"/>
              <a:gd name="connsiteY1" fmla="*/ 0 h 6105636"/>
              <a:gd name="connsiteX2" fmla="*/ 6592752 w 7309764"/>
              <a:gd name="connsiteY2" fmla="*/ 46298 h 6105636"/>
              <a:gd name="connsiteX3" fmla="*/ 6462532 w 7309764"/>
              <a:gd name="connsiteY3" fmla="*/ 3052818 h 6105636"/>
              <a:gd name="connsiteX4" fmla="*/ 6462532 w 7309764"/>
              <a:gd name="connsiteY4" fmla="*/ 3052818 h 6105636"/>
              <a:gd name="connsiteX5" fmla="*/ 3409714 w 7309764"/>
              <a:gd name="connsiteY5" fmla="*/ 6105636 h 6105636"/>
              <a:gd name="connsiteX6" fmla="*/ 3052818 w 7309764"/>
              <a:gd name="connsiteY6" fmla="*/ 6105636 h 6105636"/>
              <a:gd name="connsiteX7" fmla="*/ 0 w 7309764"/>
              <a:gd name="connsiteY7" fmla="*/ 3052818 h 6105636"/>
              <a:gd name="connsiteX0" fmla="*/ 0 w 7309764"/>
              <a:gd name="connsiteY0" fmla="*/ 3060215 h 6113033"/>
              <a:gd name="connsiteX1" fmla="*/ 3052818 w 7309764"/>
              <a:gd name="connsiteY1" fmla="*/ 7397 h 6113033"/>
              <a:gd name="connsiteX2" fmla="*/ 6592752 w 7309764"/>
              <a:gd name="connsiteY2" fmla="*/ 53695 h 6113033"/>
              <a:gd name="connsiteX3" fmla="*/ 6462532 w 7309764"/>
              <a:gd name="connsiteY3" fmla="*/ 3060215 h 6113033"/>
              <a:gd name="connsiteX4" fmla="*/ 6462532 w 7309764"/>
              <a:gd name="connsiteY4" fmla="*/ 3060215 h 6113033"/>
              <a:gd name="connsiteX5" fmla="*/ 3409714 w 7309764"/>
              <a:gd name="connsiteY5" fmla="*/ 6113033 h 6113033"/>
              <a:gd name="connsiteX6" fmla="*/ 3052818 w 7309764"/>
              <a:gd name="connsiteY6" fmla="*/ 6113033 h 6113033"/>
              <a:gd name="connsiteX7" fmla="*/ 0 w 7309764"/>
              <a:gd name="connsiteY7" fmla="*/ 3060215 h 6113033"/>
              <a:gd name="connsiteX0" fmla="*/ 0 w 7309764"/>
              <a:gd name="connsiteY0" fmla="*/ 3052818 h 6105636"/>
              <a:gd name="connsiteX1" fmla="*/ 3052818 w 7309764"/>
              <a:gd name="connsiteY1" fmla="*/ 0 h 6105636"/>
              <a:gd name="connsiteX2" fmla="*/ 6592752 w 7309764"/>
              <a:gd name="connsiteY2" fmla="*/ 46298 h 6105636"/>
              <a:gd name="connsiteX3" fmla="*/ 6462532 w 7309764"/>
              <a:gd name="connsiteY3" fmla="*/ 3052818 h 6105636"/>
              <a:gd name="connsiteX4" fmla="*/ 6462532 w 7309764"/>
              <a:gd name="connsiteY4" fmla="*/ 3052818 h 6105636"/>
              <a:gd name="connsiteX5" fmla="*/ 3409714 w 7309764"/>
              <a:gd name="connsiteY5" fmla="*/ 6105636 h 6105636"/>
              <a:gd name="connsiteX6" fmla="*/ 3052818 w 7309764"/>
              <a:gd name="connsiteY6" fmla="*/ 6105636 h 6105636"/>
              <a:gd name="connsiteX7" fmla="*/ 0 w 7309764"/>
              <a:gd name="connsiteY7" fmla="*/ 3052818 h 6105636"/>
              <a:gd name="connsiteX0" fmla="*/ 0 w 7162978"/>
              <a:gd name="connsiteY0" fmla="*/ 3052818 h 6105636"/>
              <a:gd name="connsiteX1" fmla="*/ 3052818 w 7162978"/>
              <a:gd name="connsiteY1" fmla="*/ 0 h 6105636"/>
              <a:gd name="connsiteX2" fmla="*/ 6395982 w 7162978"/>
              <a:gd name="connsiteY2" fmla="*/ 11574 h 6105636"/>
              <a:gd name="connsiteX3" fmla="*/ 6462532 w 7162978"/>
              <a:gd name="connsiteY3" fmla="*/ 3052818 h 6105636"/>
              <a:gd name="connsiteX4" fmla="*/ 6462532 w 7162978"/>
              <a:gd name="connsiteY4" fmla="*/ 3052818 h 6105636"/>
              <a:gd name="connsiteX5" fmla="*/ 3409714 w 7162978"/>
              <a:gd name="connsiteY5" fmla="*/ 6105636 h 6105636"/>
              <a:gd name="connsiteX6" fmla="*/ 3052818 w 7162978"/>
              <a:gd name="connsiteY6" fmla="*/ 6105636 h 6105636"/>
              <a:gd name="connsiteX7" fmla="*/ 0 w 7162978"/>
              <a:gd name="connsiteY7" fmla="*/ 3052818 h 6105636"/>
              <a:gd name="connsiteX0" fmla="*/ 0 w 7162978"/>
              <a:gd name="connsiteY0" fmla="*/ 3052818 h 6105636"/>
              <a:gd name="connsiteX1" fmla="*/ 3052818 w 7162978"/>
              <a:gd name="connsiteY1" fmla="*/ 0 h 6105636"/>
              <a:gd name="connsiteX2" fmla="*/ 6395982 w 7162978"/>
              <a:gd name="connsiteY2" fmla="*/ 11574 h 6105636"/>
              <a:gd name="connsiteX3" fmla="*/ 6462532 w 7162978"/>
              <a:gd name="connsiteY3" fmla="*/ 3052818 h 6105636"/>
              <a:gd name="connsiteX4" fmla="*/ 6462532 w 7162978"/>
              <a:gd name="connsiteY4" fmla="*/ 3052818 h 6105636"/>
              <a:gd name="connsiteX5" fmla="*/ 3409714 w 7162978"/>
              <a:gd name="connsiteY5" fmla="*/ 6105636 h 6105636"/>
              <a:gd name="connsiteX6" fmla="*/ 3052818 w 7162978"/>
              <a:gd name="connsiteY6" fmla="*/ 6105636 h 6105636"/>
              <a:gd name="connsiteX7" fmla="*/ 0 w 7162978"/>
              <a:gd name="connsiteY7" fmla="*/ 3052818 h 6105636"/>
              <a:gd name="connsiteX0" fmla="*/ 0 w 7162978"/>
              <a:gd name="connsiteY0" fmla="*/ 3052818 h 6105636"/>
              <a:gd name="connsiteX1" fmla="*/ 3052818 w 7162978"/>
              <a:gd name="connsiteY1" fmla="*/ 0 h 6105636"/>
              <a:gd name="connsiteX2" fmla="*/ 6395982 w 7162978"/>
              <a:gd name="connsiteY2" fmla="*/ 11574 h 6105636"/>
              <a:gd name="connsiteX3" fmla="*/ 6462532 w 7162978"/>
              <a:gd name="connsiteY3" fmla="*/ 3052818 h 6105636"/>
              <a:gd name="connsiteX4" fmla="*/ 6462532 w 7162978"/>
              <a:gd name="connsiteY4" fmla="*/ 3052818 h 6105636"/>
              <a:gd name="connsiteX5" fmla="*/ 3409714 w 7162978"/>
              <a:gd name="connsiteY5" fmla="*/ 6105636 h 6105636"/>
              <a:gd name="connsiteX6" fmla="*/ 3052818 w 7162978"/>
              <a:gd name="connsiteY6" fmla="*/ 6105636 h 6105636"/>
              <a:gd name="connsiteX7" fmla="*/ 0 w 7162978"/>
              <a:gd name="connsiteY7" fmla="*/ 3052818 h 6105636"/>
              <a:gd name="connsiteX0" fmla="*/ 0 w 7162978"/>
              <a:gd name="connsiteY0" fmla="*/ 3052818 h 6105636"/>
              <a:gd name="connsiteX1" fmla="*/ 3052818 w 7162978"/>
              <a:gd name="connsiteY1" fmla="*/ 0 h 6105636"/>
              <a:gd name="connsiteX2" fmla="*/ 6395982 w 7162978"/>
              <a:gd name="connsiteY2" fmla="*/ 11574 h 6105636"/>
              <a:gd name="connsiteX3" fmla="*/ 6462532 w 7162978"/>
              <a:gd name="connsiteY3" fmla="*/ 3052818 h 6105636"/>
              <a:gd name="connsiteX4" fmla="*/ 6462532 w 7162978"/>
              <a:gd name="connsiteY4" fmla="*/ 3052818 h 6105636"/>
              <a:gd name="connsiteX5" fmla="*/ 3409714 w 7162978"/>
              <a:gd name="connsiteY5" fmla="*/ 6105636 h 6105636"/>
              <a:gd name="connsiteX6" fmla="*/ 3052818 w 7162978"/>
              <a:gd name="connsiteY6" fmla="*/ 6105636 h 6105636"/>
              <a:gd name="connsiteX7" fmla="*/ 0 w 7162978"/>
              <a:gd name="connsiteY7" fmla="*/ 3052818 h 6105636"/>
              <a:gd name="connsiteX0" fmla="*/ 0 w 6750471"/>
              <a:gd name="connsiteY0" fmla="*/ 3052818 h 6105636"/>
              <a:gd name="connsiteX1" fmla="*/ 3052818 w 6750471"/>
              <a:gd name="connsiteY1" fmla="*/ 0 h 6105636"/>
              <a:gd name="connsiteX2" fmla="*/ 6395982 w 6750471"/>
              <a:gd name="connsiteY2" fmla="*/ 11574 h 6105636"/>
              <a:gd name="connsiteX3" fmla="*/ 6462532 w 6750471"/>
              <a:gd name="connsiteY3" fmla="*/ 3052818 h 6105636"/>
              <a:gd name="connsiteX4" fmla="*/ 6462532 w 6750471"/>
              <a:gd name="connsiteY4" fmla="*/ 3052818 h 6105636"/>
              <a:gd name="connsiteX5" fmla="*/ 3409714 w 6750471"/>
              <a:gd name="connsiteY5" fmla="*/ 6105636 h 6105636"/>
              <a:gd name="connsiteX6" fmla="*/ 3052818 w 6750471"/>
              <a:gd name="connsiteY6" fmla="*/ 6105636 h 6105636"/>
              <a:gd name="connsiteX7" fmla="*/ 0 w 6750471"/>
              <a:gd name="connsiteY7" fmla="*/ 3052818 h 6105636"/>
              <a:gd name="connsiteX0" fmla="*/ 0 w 6462532"/>
              <a:gd name="connsiteY0" fmla="*/ 3052818 h 6105636"/>
              <a:gd name="connsiteX1" fmla="*/ 3052818 w 6462532"/>
              <a:gd name="connsiteY1" fmla="*/ 0 h 6105636"/>
              <a:gd name="connsiteX2" fmla="*/ 6395982 w 6462532"/>
              <a:gd name="connsiteY2" fmla="*/ 11574 h 6105636"/>
              <a:gd name="connsiteX3" fmla="*/ 6462532 w 6462532"/>
              <a:gd name="connsiteY3" fmla="*/ 3052818 h 6105636"/>
              <a:gd name="connsiteX4" fmla="*/ 6462532 w 6462532"/>
              <a:gd name="connsiteY4" fmla="*/ 3052818 h 6105636"/>
              <a:gd name="connsiteX5" fmla="*/ 3409714 w 6462532"/>
              <a:gd name="connsiteY5" fmla="*/ 6105636 h 6105636"/>
              <a:gd name="connsiteX6" fmla="*/ 3052818 w 6462532"/>
              <a:gd name="connsiteY6" fmla="*/ 6105636 h 6105636"/>
              <a:gd name="connsiteX7" fmla="*/ 0 w 6462532"/>
              <a:gd name="connsiteY7" fmla="*/ 3052818 h 6105636"/>
              <a:gd name="connsiteX0" fmla="*/ 0 w 6477004"/>
              <a:gd name="connsiteY0" fmla="*/ 3052819 h 6105637"/>
              <a:gd name="connsiteX1" fmla="*/ 3052818 w 6477004"/>
              <a:gd name="connsiteY1" fmla="*/ 1 h 6105637"/>
              <a:gd name="connsiteX2" fmla="*/ 6477004 w 6477004"/>
              <a:gd name="connsiteY2" fmla="*/ 0 h 6105637"/>
              <a:gd name="connsiteX3" fmla="*/ 6462532 w 6477004"/>
              <a:gd name="connsiteY3" fmla="*/ 3052819 h 6105637"/>
              <a:gd name="connsiteX4" fmla="*/ 6462532 w 6477004"/>
              <a:gd name="connsiteY4" fmla="*/ 3052819 h 6105637"/>
              <a:gd name="connsiteX5" fmla="*/ 3409714 w 6477004"/>
              <a:gd name="connsiteY5" fmla="*/ 6105637 h 6105637"/>
              <a:gd name="connsiteX6" fmla="*/ 3052818 w 6477004"/>
              <a:gd name="connsiteY6" fmla="*/ 6105637 h 6105637"/>
              <a:gd name="connsiteX7" fmla="*/ 0 w 6477004"/>
              <a:gd name="connsiteY7" fmla="*/ 3052819 h 6105637"/>
              <a:gd name="connsiteX0" fmla="*/ 0 w 6477004"/>
              <a:gd name="connsiteY0" fmla="*/ 3052819 h 6105637"/>
              <a:gd name="connsiteX1" fmla="*/ 3052818 w 6477004"/>
              <a:gd name="connsiteY1" fmla="*/ 1 h 6105637"/>
              <a:gd name="connsiteX2" fmla="*/ 6477004 w 6477004"/>
              <a:gd name="connsiteY2" fmla="*/ 0 h 6105637"/>
              <a:gd name="connsiteX3" fmla="*/ 6462532 w 6477004"/>
              <a:gd name="connsiteY3" fmla="*/ 3052819 h 6105637"/>
              <a:gd name="connsiteX4" fmla="*/ 5756477 w 6477004"/>
              <a:gd name="connsiteY4" fmla="*/ 3018095 h 6105637"/>
              <a:gd name="connsiteX5" fmla="*/ 3409714 w 6477004"/>
              <a:gd name="connsiteY5" fmla="*/ 6105637 h 6105637"/>
              <a:gd name="connsiteX6" fmla="*/ 3052818 w 6477004"/>
              <a:gd name="connsiteY6" fmla="*/ 6105637 h 6105637"/>
              <a:gd name="connsiteX7" fmla="*/ 0 w 6477004"/>
              <a:gd name="connsiteY7" fmla="*/ 3052819 h 6105637"/>
              <a:gd name="connsiteX0" fmla="*/ 0 w 6477004"/>
              <a:gd name="connsiteY0" fmla="*/ 3052819 h 6105637"/>
              <a:gd name="connsiteX1" fmla="*/ 3052818 w 6477004"/>
              <a:gd name="connsiteY1" fmla="*/ 1 h 6105637"/>
              <a:gd name="connsiteX2" fmla="*/ 6477004 w 6477004"/>
              <a:gd name="connsiteY2" fmla="*/ 0 h 6105637"/>
              <a:gd name="connsiteX3" fmla="*/ 6462532 w 6477004"/>
              <a:gd name="connsiteY3" fmla="*/ 3052819 h 6105637"/>
              <a:gd name="connsiteX4" fmla="*/ 3409714 w 6477004"/>
              <a:gd name="connsiteY4" fmla="*/ 6105637 h 6105637"/>
              <a:gd name="connsiteX5" fmla="*/ 3052818 w 6477004"/>
              <a:gd name="connsiteY5" fmla="*/ 6105637 h 6105637"/>
              <a:gd name="connsiteX6" fmla="*/ 0 w 6477004"/>
              <a:gd name="connsiteY6" fmla="*/ 3052819 h 6105637"/>
              <a:gd name="connsiteX0" fmla="*/ 0 w 6477004"/>
              <a:gd name="connsiteY0" fmla="*/ 3052819 h 6108535"/>
              <a:gd name="connsiteX1" fmla="*/ 3052818 w 6477004"/>
              <a:gd name="connsiteY1" fmla="*/ 1 h 6108535"/>
              <a:gd name="connsiteX2" fmla="*/ 6477004 w 6477004"/>
              <a:gd name="connsiteY2" fmla="*/ 0 h 6108535"/>
              <a:gd name="connsiteX3" fmla="*/ 6462532 w 6477004"/>
              <a:gd name="connsiteY3" fmla="*/ 6108535 h 6108535"/>
              <a:gd name="connsiteX4" fmla="*/ 3409714 w 6477004"/>
              <a:gd name="connsiteY4" fmla="*/ 6105637 h 6108535"/>
              <a:gd name="connsiteX5" fmla="*/ 3052818 w 6477004"/>
              <a:gd name="connsiteY5" fmla="*/ 6105637 h 6108535"/>
              <a:gd name="connsiteX6" fmla="*/ 0 w 6477004"/>
              <a:gd name="connsiteY6" fmla="*/ 3052819 h 6108535"/>
              <a:gd name="connsiteX0" fmla="*/ 0 w 6477004"/>
              <a:gd name="connsiteY0" fmla="*/ 3052819 h 6108535"/>
              <a:gd name="connsiteX1" fmla="*/ 3052818 w 6477004"/>
              <a:gd name="connsiteY1" fmla="*/ 1 h 6108535"/>
              <a:gd name="connsiteX2" fmla="*/ 6477004 w 6477004"/>
              <a:gd name="connsiteY2" fmla="*/ 0 h 6108535"/>
              <a:gd name="connsiteX3" fmla="*/ 6323635 w 6477004"/>
              <a:gd name="connsiteY3" fmla="*/ 6108535 h 6108535"/>
              <a:gd name="connsiteX4" fmla="*/ 3409714 w 6477004"/>
              <a:gd name="connsiteY4" fmla="*/ 6105637 h 6108535"/>
              <a:gd name="connsiteX5" fmla="*/ 3052818 w 6477004"/>
              <a:gd name="connsiteY5" fmla="*/ 6105637 h 6108535"/>
              <a:gd name="connsiteX6" fmla="*/ 0 w 6477004"/>
              <a:gd name="connsiteY6" fmla="*/ 3052819 h 6108535"/>
              <a:gd name="connsiteX0" fmla="*/ 0 w 6326533"/>
              <a:gd name="connsiteY0" fmla="*/ 3052819 h 6108535"/>
              <a:gd name="connsiteX1" fmla="*/ 3052818 w 6326533"/>
              <a:gd name="connsiteY1" fmla="*/ 1 h 6108535"/>
              <a:gd name="connsiteX2" fmla="*/ 6326533 w 6326533"/>
              <a:gd name="connsiteY2" fmla="*/ 0 h 6108535"/>
              <a:gd name="connsiteX3" fmla="*/ 6323635 w 6326533"/>
              <a:gd name="connsiteY3" fmla="*/ 6108535 h 6108535"/>
              <a:gd name="connsiteX4" fmla="*/ 3409714 w 6326533"/>
              <a:gd name="connsiteY4" fmla="*/ 6105637 h 6108535"/>
              <a:gd name="connsiteX5" fmla="*/ 3052818 w 6326533"/>
              <a:gd name="connsiteY5" fmla="*/ 6105637 h 6108535"/>
              <a:gd name="connsiteX6" fmla="*/ 0 w 6326533"/>
              <a:gd name="connsiteY6" fmla="*/ 3052819 h 61085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26533" h="6108535">
                <a:moveTo>
                  <a:pt x="0" y="3052819"/>
                </a:moveTo>
                <a:cubicBezTo>
                  <a:pt x="0" y="1366794"/>
                  <a:pt x="1366793" y="1"/>
                  <a:pt x="3052818" y="1"/>
                </a:cubicBezTo>
                <a:lnTo>
                  <a:pt x="6326533" y="0"/>
                </a:lnTo>
                <a:lnTo>
                  <a:pt x="6323635" y="6108535"/>
                </a:lnTo>
                <a:lnTo>
                  <a:pt x="3409714" y="6105637"/>
                </a:lnTo>
                <a:lnTo>
                  <a:pt x="3052818" y="6105637"/>
                </a:lnTo>
                <a:cubicBezTo>
                  <a:pt x="1366793" y="6105637"/>
                  <a:pt x="0" y="4738844"/>
                  <a:pt x="0" y="3052819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E02383DA-65B3-044E-9E1B-2CC00A0B1CC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76110" y="2303031"/>
            <a:ext cx="3266048" cy="1125969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ts val="2850"/>
              </a:lnSpc>
              <a:defRPr sz="2700" b="1" i="0" baseline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F239D86-1AC3-1D48-9675-22CEFBB263F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76109" y="3835927"/>
            <a:ext cx="3266049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itle of Position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91BF6710-27B9-2444-8317-2C64F0D3084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76109" y="4094941"/>
            <a:ext cx="3266049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Department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669B2D41-B11D-9D45-B189-F838AC342B0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176109" y="4349428"/>
            <a:ext cx="3266049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D7467C81-9D88-4140-B42C-28DFB564647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176109" y="3577406"/>
            <a:ext cx="3266049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51C63AF0-2F8F-40EB-03A7-E65BBAC43C5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24926" y="277419"/>
            <a:ext cx="844617" cy="394888"/>
          </a:xfrm>
          <a:prstGeom prst="rect">
            <a:avLst/>
          </a:prstGeom>
        </p:spPr>
      </p:pic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1A11203-E2BB-019E-8559-28DBE58D7D1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176108" y="6338959"/>
            <a:ext cx="5774753" cy="234001"/>
          </a:xfrm>
        </p:spPr>
        <p:txBody>
          <a:bodyPr tIns="0" rIns="0" bIns="0" anchor="ctr" anchorCtr="0">
            <a:noAutofit/>
          </a:bodyPr>
          <a:lstStyle>
            <a:lvl1pPr marL="0" marR="0" indent="0" algn="l" defTabSz="68561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 sz="600"/>
            </a:lvl1pPr>
            <a:lvl2pPr>
              <a:defRPr sz="6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marL="0" marR="0" lvl="0" indent="0" algn="l" defTabSz="68561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rivate and confidential. For internal use only.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4E797FA9-5DA4-89E1-09E5-D84ECC70A6D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8093234" y="6132508"/>
            <a:ext cx="825739" cy="37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5038732"/>
      </p:ext>
    </p:extLst>
  </p:cSld>
  <p:clrMapOvr>
    <a:masterClrMapping/>
  </p:clrMapOvr>
  <p:transition spd="slow">
    <p:push dir="u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dvanced 3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925D82-457F-D84D-B8DF-D8ADFD7E71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3362" y="3178298"/>
            <a:ext cx="4281488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35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3362" y="3575905"/>
            <a:ext cx="2822659" cy="2452343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28588" indent="-128588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 sz="1050" b="0">
                <a:solidFill>
                  <a:schemeClr val="tx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ext. 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3BB454FD-9C16-FC47-B46E-6675394572B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60295" y="3575905"/>
            <a:ext cx="2822659" cy="2452343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28588" indent="-128588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 sz="1050" b="0">
                <a:solidFill>
                  <a:schemeClr val="tx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ext. 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568F3A49-7287-1C4D-93C8-50E3C0B4F15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74976" y="3575905"/>
            <a:ext cx="2822659" cy="2452343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28588" indent="-128588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 sz="1050" b="0">
                <a:solidFill>
                  <a:schemeClr val="tx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ext. </a:t>
            </a:r>
          </a:p>
        </p:txBody>
      </p:sp>
      <p:sp>
        <p:nvSpPr>
          <p:cNvPr id="24" name="タイトル プレースホルダ 1">
            <a:extLst>
              <a:ext uri="{FF2B5EF4-FFF2-40B4-BE49-F238E27FC236}">
                <a16:creationId xmlns:a16="http://schemas.microsoft.com/office/drawing/2014/main" id="{CC986DF6-9894-F144-B9DA-A9DBE0000A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7455190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86528CE-2840-6C44-965A-04D8835743E3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C9681050-C142-4F4F-B3C6-6F52F3C55C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110504E2-40F0-054E-8424-D247EF2CA2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3363" y="1491374"/>
            <a:ext cx="8677275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/>
            </a:lvl1pPr>
            <a:lvl2pPr marL="342801" indent="0">
              <a:buNone/>
              <a:defRPr sz="1350" b="1"/>
            </a:lvl2pPr>
            <a:lvl3pPr marL="685612" indent="0">
              <a:buNone/>
              <a:defRPr sz="1350" b="1"/>
            </a:lvl3pPr>
            <a:lvl4pPr marL="1028414" indent="0">
              <a:buNone/>
              <a:defRPr sz="1350" b="1"/>
            </a:lvl4pPr>
            <a:lvl5pPr marL="1371218" indent="0">
              <a:buNone/>
              <a:defRPr sz="135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073E75F2-7FFB-DC4C-8964-799372FCF58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33363" y="1093767"/>
            <a:ext cx="8677275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50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Primary Titl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C21B40B-91F3-0225-3150-8B94A76D4EB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24926" y="277419"/>
            <a:ext cx="844617" cy="394888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16F165AD-6D13-E83C-E358-780D4AD13AA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8093234" y="6293801"/>
            <a:ext cx="825739" cy="372288"/>
          </a:xfrm>
          <a:prstGeom prst="rect">
            <a:avLst/>
          </a:prstGeom>
        </p:spPr>
      </p:pic>
      <p:sp>
        <p:nvSpPr>
          <p:cNvPr id="27" name="スライド番号プレースホルダ 5">
            <a:extLst>
              <a:ext uri="{FF2B5EF4-FFF2-40B4-BE49-F238E27FC236}">
                <a16:creationId xmlns:a16="http://schemas.microsoft.com/office/drawing/2014/main" id="{854E474F-30B0-604E-9699-287AC57CAA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7537152"/>
      </p:ext>
    </p:extLst>
  </p:cSld>
  <p:clrMapOvr>
    <a:masterClrMapping/>
  </p:clrMapOvr>
  <p:transition spd="slow">
    <p:push dir="u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dvanced 2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B3311DE3-EC35-4C49-805E-57AB2D90E99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158057" y="1093768"/>
            <a:ext cx="5991267" cy="4910087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33463"/>
              <a:gd name="connsiteX1" fmla="*/ 8912928 w 8915642"/>
              <a:gd name="connsiteY1" fmla="*/ 191388 h 6633463"/>
              <a:gd name="connsiteX2" fmla="*/ 8915642 w 8915642"/>
              <a:gd name="connsiteY2" fmla="*/ 6631809 h 6633463"/>
              <a:gd name="connsiteX3" fmla="*/ 579722 w 8915642"/>
              <a:gd name="connsiteY3" fmla="*/ 6633463 h 6633463"/>
              <a:gd name="connsiteX4" fmla="*/ 0 w 8915642"/>
              <a:gd name="connsiteY4" fmla="*/ 6053741 h 6633463"/>
              <a:gd name="connsiteX5" fmla="*/ 0 w 8915642"/>
              <a:gd name="connsiteY5" fmla="*/ 1 h 6633463"/>
              <a:gd name="connsiteX0" fmla="*/ 0 w 8933278"/>
              <a:gd name="connsiteY0" fmla="*/ 1653 h 6635115"/>
              <a:gd name="connsiteX1" fmla="*/ 8933248 w 8933278"/>
              <a:gd name="connsiteY1" fmla="*/ 0 h 6635115"/>
              <a:gd name="connsiteX2" fmla="*/ 8915642 w 8933278"/>
              <a:gd name="connsiteY2" fmla="*/ 6633461 h 6635115"/>
              <a:gd name="connsiteX3" fmla="*/ 579722 w 8933278"/>
              <a:gd name="connsiteY3" fmla="*/ 6635115 h 6635115"/>
              <a:gd name="connsiteX4" fmla="*/ 0 w 8933278"/>
              <a:gd name="connsiteY4" fmla="*/ 6055393 h 6635115"/>
              <a:gd name="connsiteX5" fmla="*/ 0 w 8933278"/>
              <a:gd name="connsiteY5" fmla="*/ 1653 h 6635115"/>
              <a:gd name="connsiteX0" fmla="*/ 0 w 8933323"/>
              <a:gd name="connsiteY0" fmla="*/ 1653 h 6645336"/>
              <a:gd name="connsiteX1" fmla="*/ 8933248 w 8933323"/>
              <a:gd name="connsiteY1" fmla="*/ 0 h 6645336"/>
              <a:gd name="connsiteX2" fmla="*/ 8927517 w 8933323"/>
              <a:gd name="connsiteY2" fmla="*/ 6645336 h 6645336"/>
              <a:gd name="connsiteX3" fmla="*/ 579722 w 8933323"/>
              <a:gd name="connsiteY3" fmla="*/ 6635115 h 6645336"/>
              <a:gd name="connsiteX4" fmla="*/ 0 w 8933323"/>
              <a:gd name="connsiteY4" fmla="*/ 6055393 h 6645336"/>
              <a:gd name="connsiteX5" fmla="*/ 0 w 8933323"/>
              <a:gd name="connsiteY5" fmla="*/ 1653 h 6645336"/>
              <a:gd name="connsiteX0" fmla="*/ 0 w 8927517"/>
              <a:gd name="connsiteY0" fmla="*/ 1653 h 6645336"/>
              <a:gd name="connsiteX1" fmla="*/ 7971347 w 8927517"/>
              <a:gd name="connsiteY1" fmla="*/ 0 h 6645336"/>
              <a:gd name="connsiteX2" fmla="*/ 8927517 w 8927517"/>
              <a:gd name="connsiteY2" fmla="*/ 6645336 h 6645336"/>
              <a:gd name="connsiteX3" fmla="*/ 579722 w 8927517"/>
              <a:gd name="connsiteY3" fmla="*/ 6635115 h 6645336"/>
              <a:gd name="connsiteX4" fmla="*/ 0 w 8927517"/>
              <a:gd name="connsiteY4" fmla="*/ 6055393 h 6645336"/>
              <a:gd name="connsiteX5" fmla="*/ 0 w 8927517"/>
              <a:gd name="connsiteY5" fmla="*/ 1653 h 6645336"/>
              <a:gd name="connsiteX0" fmla="*/ 0 w 7971422"/>
              <a:gd name="connsiteY0" fmla="*/ 1653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653 h 6645336"/>
              <a:gd name="connsiteX0" fmla="*/ 0 w 7971422"/>
              <a:gd name="connsiteY0" fmla="*/ 1301816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301816 h 6645336"/>
              <a:gd name="connsiteX0" fmla="*/ 0 w 7965616"/>
              <a:gd name="connsiteY0" fmla="*/ 1653 h 5345173"/>
              <a:gd name="connsiteX1" fmla="*/ 7957060 w 7965616"/>
              <a:gd name="connsiteY1" fmla="*/ 0 h 5345173"/>
              <a:gd name="connsiteX2" fmla="*/ 7965616 w 7965616"/>
              <a:gd name="connsiteY2" fmla="*/ 5345173 h 5345173"/>
              <a:gd name="connsiteX3" fmla="*/ 579722 w 7965616"/>
              <a:gd name="connsiteY3" fmla="*/ 5334952 h 5345173"/>
              <a:gd name="connsiteX4" fmla="*/ 0 w 7965616"/>
              <a:gd name="connsiteY4" fmla="*/ 4755230 h 5345173"/>
              <a:gd name="connsiteX5" fmla="*/ 0 w 7965616"/>
              <a:gd name="connsiteY5" fmla="*/ 1653 h 5345173"/>
              <a:gd name="connsiteX0" fmla="*/ 0 w 7971422"/>
              <a:gd name="connsiteY0" fmla="*/ 1653 h 5345173"/>
              <a:gd name="connsiteX1" fmla="*/ 7971347 w 7971422"/>
              <a:gd name="connsiteY1" fmla="*/ 0 h 5345173"/>
              <a:gd name="connsiteX2" fmla="*/ 7965616 w 7971422"/>
              <a:gd name="connsiteY2" fmla="*/ 5345173 h 5345173"/>
              <a:gd name="connsiteX3" fmla="*/ 579722 w 7971422"/>
              <a:gd name="connsiteY3" fmla="*/ 5334952 h 5345173"/>
              <a:gd name="connsiteX4" fmla="*/ 0 w 7971422"/>
              <a:gd name="connsiteY4" fmla="*/ 4755230 h 5345173"/>
              <a:gd name="connsiteX5" fmla="*/ 0 w 7971422"/>
              <a:gd name="connsiteY5" fmla="*/ 1653 h 5345173"/>
              <a:gd name="connsiteX0" fmla="*/ 0 w 7988356"/>
              <a:gd name="connsiteY0" fmla="*/ 187920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187920 h 5345173"/>
              <a:gd name="connsiteX0" fmla="*/ 0 w 7988356"/>
              <a:gd name="connsiteY0" fmla="*/ 210145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210145 h 5345173"/>
              <a:gd name="connsiteX0" fmla="*/ 0 w 7988356"/>
              <a:gd name="connsiteY0" fmla="*/ 0 h 5135028"/>
              <a:gd name="connsiteX1" fmla="*/ 7988281 w 7988356"/>
              <a:gd name="connsiteY1" fmla="*/ 7569 h 5135028"/>
              <a:gd name="connsiteX2" fmla="*/ 7982550 w 7988356"/>
              <a:gd name="connsiteY2" fmla="*/ 5135028 h 5135028"/>
              <a:gd name="connsiteX3" fmla="*/ 596656 w 7988356"/>
              <a:gd name="connsiteY3" fmla="*/ 5124807 h 5135028"/>
              <a:gd name="connsiteX4" fmla="*/ 16934 w 7988356"/>
              <a:gd name="connsiteY4" fmla="*/ 4545085 h 5135028"/>
              <a:gd name="connsiteX5" fmla="*/ 0 w 7988356"/>
              <a:gd name="connsiteY5" fmla="*/ 0 h 5135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88356" h="5135028">
                <a:moveTo>
                  <a:pt x="0" y="0"/>
                </a:moveTo>
                <a:lnTo>
                  <a:pt x="7988281" y="7569"/>
                </a:lnTo>
                <a:cubicBezTo>
                  <a:pt x="7989186" y="2154376"/>
                  <a:pt x="7981645" y="2988221"/>
                  <a:pt x="7982550" y="5135028"/>
                </a:cubicBezTo>
                <a:lnTo>
                  <a:pt x="596656" y="5124807"/>
                </a:lnTo>
                <a:cubicBezTo>
                  <a:pt x="276484" y="5124807"/>
                  <a:pt x="16934" y="4865257"/>
                  <a:pt x="16934" y="4545085"/>
                </a:cubicBezTo>
                <a:cubicBezTo>
                  <a:pt x="11289" y="3022648"/>
                  <a:pt x="5645" y="1522437"/>
                  <a:pt x="0" y="0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JP"/>
              <a:t>Insert Photo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925D82-457F-D84D-B8DF-D8ADFD7E71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3362" y="3178298"/>
            <a:ext cx="2813975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35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3362" y="3575905"/>
            <a:ext cx="2813975" cy="2427950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28588" indent="-128588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 sz="1050" b="0">
                <a:solidFill>
                  <a:schemeClr val="tx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ext. </a:t>
            </a:r>
          </a:p>
        </p:txBody>
      </p:sp>
      <p:sp>
        <p:nvSpPr>
          <p:cNvPr id="22" name="タイトル プレースホルダ 1">
            <a:extLst>
              <a:ext uri="{FF2B5EF4-FFF2-40B4-BE49-F238E27FC236}">
                <a16:creationId xmlns:a16="http://schemas.microsoft.com/office/drawing/2014/main" id="{1545CFCD-ABA6-1349-9917-1DDD2762CB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7455190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7730F84-B57E-C441-B81C-A0677388FA64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6ACFB15D-3880-FB46-8B5A-E057FE4C9B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F3CD883-F623-E54C-A27A-38B7EB95705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3364" y="1491374"/>
            <a:ext cx="2813974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/>
            </a:lvl1pPr>
            <a:lvl2pPr marL="342801" indent="0">
              <a:buNone/>
              <a:defRPr sz="1350" b="1"/>
            </a:lvl2pPr>
            <a:lvl3pPr marL="685612" indent="0">
              <a:buNone/>
              <a:defRPr sz="1350" b="1"/>
            </a:lvl3pPr>
            <a:lvl4pPr marL="1028414" indent="0">
              <a:buNone/>
              <a:defRPr sz="1350" b="1"/>
            </a:lvl4pPr>
            <a:lvl5pPr marL="1371218" indent="0">
              <a:buNone/>
              <a:defRPr sz="135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B2D601E3-CC68-7845-AAF4-3AD141198B4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33363" y="1093767"/>
            <a:ext cx="2813974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50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Primary Titl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3988F13F-524B-D86B-AEBB-19EC8A9E67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24926" y="277419"/>
            <a:ext cx="844617" cy="394888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57383B70-B6C1-693F-5BE0-C6995516A64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8084899" y="6303556"/>
            <a:ext cx="825739" cy="372288"/>
          </a:xfrm>
          <a:prstGeom prst="rect">
            <a:avLst/>
          </a:prstGeom>
        </p:spPr>
      </p:pic>
      <p:sp>
        <p:nvSpPr>
          <p:cNvPr id="25" name="スライド番号プレースホルダ 5">
            <a:extLst>
              <a:ext uri="{FF2B5EF4-FFF2-40B4-BE49-F238E27FC236}">
                <a16:creationId xmlns:a16="http://schemas.microsoft.com/office/drawing/2014/main" id="{78815F79-70B9-A343-88C1-1B41F15106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1125179"/>
      </p:ext>
    </p:extLst>
  </p:cSld>
  <p:clrMapOvr>
    <a:masterClrMapping/>
  </p:clrMapOvr>
  <p:transition spd="slow">
    <p:push dir="u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dvanced 1/2 Image (Full Ble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925D82-457F-D84D-B8DF-D8ADFD7E71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3362" y="3178298"/>
            <a:ext cx="4281488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35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3362" y="3575904"/>
            <a:ext cx="4281488" cy="2859620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28588" indent="-128588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 sz="1050" b="0">
                <a:solidFill>
                  <a:schemeClr val="tx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ext. </a:t>
            </a:r>
          </a:p>
        </p:txBody>
      </p:sp>
      <p:sp>
        <p:nvSpPr>
          <p:cNvPr id="17" name="タイトル プレースホルダ 1">
            <a:extLst>
              <a:ext uri="{FF2B5EF4-FFF2-40B4-BE49-F238E27FC236}">
                <a16:creationId xmlns:a16="http://schemas.microsoft.com/office/drawing/2014/main" id="{86D6FEA8-06E4-474A-8491-CD1DDAE7D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4060292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EDBCF76-3461-2245-8BB1-FA50AE27F6CA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7D5A74AA-F0D3-9243-967D-FEA6F7A20BC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8" y="6523002"/>
            <a:ext cx="4060292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D16C870C-B0F9-5A43-81FD-66BD75CC33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3363" y="1491374"/>
            <a:ext cx="4278665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/>
            </a:lvl1pPr>
            <a:lvl2pPr marL="342801" indent="0">
              <a:buNone/>
              <a:defRPr sz="1350" b="1"/>
            </a:lvl2pPr>
            <a:lvl3pPr marL="685612" indent="0">
              <a:buNone/>
              <a:defRPr sz="1350" b="1"/>
            </a:lvl3pPr>
            <a:lvl4pPr marL="1028414" indent="0">
              <a:buNone/>
              <a:defRPr sz="1350" b="1"/>
            </a:lvl4pPr>
            <a:lvl5pPr marL="1371218" indent="0">
              <a:buNone/>
              <a:defRPr sz="135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C64E591A-1A88-9244-AC81-5B42BFE347C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33362" y="1093767"/>
            <a:ext cx="4278665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50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Primary Titl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A852B932-4EC2-7EDE-49FD-84E5DA5F016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084899" y="6303556"/>
            <a:ext cx="825739" cy="372288"/>
          </a:xfrm>
          <a:prstGeom prst="rect">
            <a:avLst/>
          </a:prstGeom>
        </p:spPr>
      </p:pic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DA0F537B-2380-C640-8119-936AD77864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639091" y="-5494"/>
            <a:ext cx="4518288" cy="6863494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33463"/>
              <a:gd name="connsiteX1" fmla="*/ 8912928 w 8915642"/>
              <a:gd name="connsiteY1" fmla="*/ 191388 h 6633463"/>
              <a:gd name="connsiteX2" fmla="*/ 8915642 w 8915642"/>
              <a:gd name="connsiteY2" fmla="*/ 6631809 h 6633463"/>
              <a:gd name="connsiteX3" fmla="*/ 579722 w 8915642"/>
              <a:gd name="connsiteY3" fmla="*/ 6633463 h 6633463"/>
              <a:gd name="connsiteX4" fmla="*/ 0 w 8915642"/>
              <a:gd name="connsiteY4" fmla="*/ 6053741 h 6633463"/>
              <a:gd name="connsiteX5" fmla="*/ 0 w 8915642"/>
              <a:gd name="connsiteY5" fmla="*/ 1 h 6633463"/>
              <a:gd name="connsiteX0" fmla="*/ 0 w 8933278"/>
              <a:gd name="connsiteY0" fmla="*/ 1653 h 6635115"/>
              <a:gd name="connsiteX1" fmla="*/ 8933248 w 8933278"/>
              <a:gd name="connsiteY1" fmla="*/ 0 h 6635115"/>
              <a:gd name="connsiteX2" fmla="*/ 8915642 w 8933278"/>
              <a:gd name="connsiteY2" fmla="*/ 6633461 h 6635115"/>
              <a:gd name="connsiteX3" fmla="*/ 579722 w 8933278"/>
              <a:gd name="connsiteY3" fmla="*/ 6635115 h 6635115"/>
              <a:gd name="connsiteX4" fmla="*/ 0 w 8933278"/>
              <a:gd name="connsiteY4" fmla="*/ 6055393 h 6635115"/>
              <a:gd name="connsiteX5" fmla="*/ 0 w 8933278"/>
              <a:gd name="connsiteY5" fmla="*/ 1653 h 6635115"/>
              <a:gd name="connsiteX0" fmla="*/ 0 w 8933323"/>
              <a:gd name="connsiteY0" fmla="*/ 1653 h 6645336"/>
              <a:gd name="connsiteX1" fmla="*/ 8933248 w 8933323"/>
              <a:gd name="connsiteY1" fmla="*/ 0 h 6645336"/>
              <a:gd name="connsiteX2" fmla="*/ 8927517 w 8933323"/>
              <a:gd name="connsiteY2" fmla="*/ 6645336 h 6645336"/>
              <a:gd name="connsiteX3" fmla="*/ 579722 w 8933323"/>
              <a:gd name="connsiteY3" fmla="*/ 6635115 h 6645336"/>
              <a:gd name="connsiteX4" fmla="*/ 0 w 8933323"/>
              <a:gd name="connsiteY4" fmla="*/ 6055393 h 6645336"/>
              <a:gd name="connsiteX5" fmla="*/ 0 w 8933323"/>
              <a:gd name="connsiteY5" fmla="*/ 1653 h 6645336"/>
              <a:gd name="connsiteX0" fmla="*/ 0 w 8927517"/>
              <a:gd name="connsiteY0" fmla="*/ 1653 h 6645336"/>
              <a:gd name="connsiteX1" fmla="*/ 7971347 w 8927517"/>
              <a:gd name="connsiteY1" fmla="*/ 0 h 6645336"/>
              <a:gd name="connsiteX2" fmla="*/ 8927517 w 8927517"/>
              <a:gd name="connsiteY2" fmla="*/ 6645336 h 6645336"/>
              <a:gd name="connsiteX3" fmla="*/ 579722 w 8927517"/>
              <a:gd name="connsiteY3" fmla="*/ 6635115 h 6645336"/>
              <a:gd name="connsiteX4" fmla="*/ 0 w 8927517"/>
              <a:gd name="connsiteY4" fmla="*/ 6055393 h 6645336"/>
              <a:gd name="connsiteX5" fmla="*/ 0 w 8927517"/>
              <a:gd name="connsiteY5" fmla="*/ 1653 h 6645336"/>
              <a:gd name="connsiteX0" fmla="*/ 0 w 7971422"/>
              <a:gd name="connsiteY0" fmla="*/ 1653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653 h 6645336"/>
              <a:gd name="connsiteX0" fmla="*/ 0 w 7971422"/>
              <a:gd name="connsiteY0" fmla="*/ 1301816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301816 h 6645336"/>
              <a:gd name="connsiteX0" fmla="*/ 0 w 7965616"/>
              <a:gd name="connsiteY0" fmla="*/ 1653 h 5345173"/>
              <a:gd name="connsiteX1" fmla="*/ 7957060 w 7965616"/>
              <a:gd name="connsiteY1" fmla="*/ 0 h 5345173"/>
              <a:gd name="connsiteX2" fmla="*/ 7965616 w 7965616"/>
              <a:gd name="connsiteY2" fmla="*/ 5345173 h 5345173"/>
              <a:gd name="connsiteX3" fmla="*/ 579722 w 7965616"/>
              <a:gd name="connsiteY3" fmla="*/ 5334952 h 5345173"/>
              <a:gd name="connsiteX4" fmla="*/ 0 w 7965616"/>
              <a:gd name="connsiteY4" fmla="*/ 4755230 h 5345173"/>
              <a:gd name="connsiteX5" fmla="*/ 0 w 7965616"/>
              <a:gd name="connsiteY5" fmla="*/ 1653 h 5345173"/>
              <a:gd name="connsiteX0" fmla="*/ 0 w 7971422"/>
              <a:gd name="connsiteY0" fmla="*/ 1653 h 5345173"/>
              <a:gd name="connsiteX1" fmla="*/ 7971347 w 7971422"/>
              <a:gd name="connsiteY1" fmla="*/ 0 h 5345173"/>
              <a:gd name="connsiteX2" fmla="*/ 7965616 w 7971422"/>
              <a:gd name="connsiteY2" fmla="*/ 5345173 h 5345173"/>
              <a:gd name="connsiteX3" fmla="*/ 579722 w 7971422"/>
              <a:gd name="connsiteY3" fmla="*/ 5334952 h 5345173"/>
              <a:gd name="connsiteX4" fmla="*/ 0 w 7971422"/>
              <a:gd name="connsiteY4" fmla="*/ 4755230 h 5345173"/>
              <a:gd name="connsiteX5" fmla="*/ 0 w 7971422"/>
              <a:gd name="connsiteY5" fmla="*/ 1653 h 5345173"/>
              <a:gd name="connsiteX0" fmla="*/ 0 w 7988356"/>
              <a:gd name="connsiteY0" fmla="*/ 187920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187920 h 5345173"/>
              <a:gd name="connsiteX0" fmla="*/ 0 w 7988356"/>
              <a:gd name="connsiteY0" fmla="*/ 210145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210145 h 5345173"/>
              <a:gd name="connsiteX0" fmla="*/ 0 w 7988356"/>
              <a:gd name="connsiteY0" fmla="*/ 0 h 5135028"/>
              <a:gd name="connsiteX1" fmla="*/ 7988281 w 7988356"/>
              <a:gd name="connsiteY1" fmla="*/ 7569 h 5135028"/>
              <a:gd name="connsiteX2" fmla="*/ 7982550 w 7988356"/>
              <a:gd name="connsiteY2" fmla="*/ 5135028 h 5135028"/>
              <a:gd name="connsiteX3" fmla="*/ 596656 w 7988356"/>
              <a:gd name="connsiteY3" fmla="*/ 5124807 h 5135028"/>
              <a:gd name="connsiteX4" fmla="*/ 16934 w 7988356"/>
              <a:gd name="connsiteY4" fmla="*/ 4545085 h 5135028"/>
              <a:gd name="connsiteX5" fmla="*/ 0 w 7988356"/>
              <a:gd name="connsiteY5" fmla="*/ 0 h 5135028"/>
              <a:gd name="connsiteX0" fmla="*/ 0 w 7982550"/>
              <a:gd name="connsiteY0" fmla="*/ 0 h 5135028"/>
              <a:gd name="connsiteX1" fmla="*/ 6028853 w 7982550"/>
              <a:gd name="connsiteY1" fmla="*/ 7569 h 5135028"/>
              <a:gd name="connsiteX2" fmla="*/ 7982550 w 7982550"/>
              <a:gd name="connsiteY2" fmla="*/ 5135028 h 5135028"/>
              <a:gd name="connsiteX3" fmla="*/ 596656 w 7982550"/>
              <a:gd name="connsiteY3" fmla="*/ 5124807 h 5135028"/>
              <a:gd name="connsiteX4" fmla="*/ 16934 w 7982550"/>
              <a:gd name="connsiteY4" fmla="*/ 4545085 h 5135028"/>
              <a:gd name="connsiteX5" fmla="*/ 0 w 7982550"/>
              <a:gd name="connsiteY5" fmla="*/ 0 h 5135028"/>
              <a:gd name="connsiteX0" fmla="*/ 0 w 6037636"/>
              <a:gd name="connsiteY0" fmla="*/ 0 h 5135028"/>
              <a:gd name="connsiteX1" fmla="*/ 6028853 w 6037636"/>
              <a:gd name="connsiteY1" fmla="*/ 7569 h 5135028"/>
              <a:gd name="connsiteX2" fmla="*/ 6037636 w 6037636"/>
              <a:gd name="connsiteY2" fmla="*/ 5135028 h 5135028"/>
              <a:gd name="connsiteX3" fmla="*/ 596656 w 6037636"/>
              <a:gd name="connsiteY3" fmla="*/ 5124807 h 5135028"/>
              <a:gd name="connsiteX4" fmla="*/ 16934 w 6037636"/>
              <a:gd name="connsiteY4" fmla="*/ 4545085 h 5135028"/>
              <a:gd name="connsiteX5" fmla="*/ 0 w 6037636"/>
              <a:gd name="connsiteY5" fmla="*/ 0 h 5135028"/>
              <a:gd name="connsiteX0" fmla="*/ 0 w 6024384"/>
              <a:gd name="connsiteY0" fmla="*/ 0 h 6857810"/>
              <a:gd name="connsiteX1" fmla="*/ 6015601 w 6024384"/>
              <a:gd name="connsiteY1" fmla="*/ 1730351 h 6857810"/>
              <a:gd name="connsiteX2" fmla="*/ 6024384 w 6024384"/>
              <a:gd name="connsiteY2" fmla="*/ 6857810 h 6857810"/>
              <a:gd name="connsiteX3" fmla="*/ 583404 w 6024384"/>
              <a:gd name="connsiteY3" fmla="*/ 6847589 h 6857810"/>
              <a:gd name="connsiteX4" fmla="*/ 3682 w 6024384"/>
              <a:gd name="connsiteY4" fmla="*/ 6267867 h 6857810"/>
              <a:gd name="connsiteX5" fmla="*/ 0 w 6024384"/>
              <a:gd name="connsiteY5" fmla="*/ 0 h 6857810"/>
              <a:gd name="connsiteX0" fmla="*/ 0 w 6024384"/>
              <a:gd name="connsiteY0" fmla="*/ 5684 h 6863494"/>
              <a:gd name="connsiteX1" fmla="*/ 6002349 w 6024384"/>
              <a:gd name="connsiteY1" fmla="*/ 0 h 6863494"/>
              <a:gd name="connsiteX2" fmla="*/ 6024384 w 6024384"/>
              <a:gd name="connsiteY2" fmla="*/ 6863494 h 6863494"/>
              <a:gd name="connsiteX3" fmla="*/ 583404 w 6024384"/>
              <a:gd name="connsiteY3" fmla="*/ 6853273 h 6863494"/>
              <a:gd name="connsiteX4" fmla="*/ 3682 w 6024384"/>
              <a:gd name="connsiteY4" fmla="*/ 6273551 h 6863494"/>
              <a:gd name="connsiteX5" fmla="*/ 0 w 6024384"/>
              <a:gd name="connsiteY5" fmla="*/ 5684 h 6863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24384" h="6863494">
                <a:moveTo>
                  <a:pt x="0" y="5684"/>
                </a:moveTo>
                <a:lnTo>
                  <a:pt x="6002349" y="0"/>
                </a:lnTo>
                <a:cubicBezTo>
                  <a:pt x="6003254" y="2146807"/>
                  <a:pt x="6023479" y="4716687"/>
                  <a:pt x="6024384" y="6863494"/>
                </a:cubicBezTo>
                <a:lnTo>
                  <a:pt x="583404" y="6853273"/>
                </a:lnTo>
                <a:cubicBezTo>
                  <a:pt x="263232" y="6853273"/>
                  <a:pt x="3682" y="6593723"/>
                  <a:pt x="3682" y="6273551"/>
                </a:cubicBezTo>
                <a:cubicBezTo>
                  <a:pt x="-1963" y="4751114"/>
                  <a:pt x="5645" y="1528121"/>
                  <a:pt x="0" y="5684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JP"/>
              <a:t>Insert Photo</a:t>
            </a:r>
          </a:p>
        </p:txBody>
      </p:sp>
      <p:sp>
        <p:nvSpPr>
          <p:cNvPr id="22" name="スライド番号プレースホルダ 5">
            <a:extLst>
              <a:ext uri="{FF2B5EF4-FFF2-40B4-BE49-F238E27FC236}">
                <a16:creationId xmlns:a16="http://schemas.microsoft.com/office/drawing/2014/main" id="{FB98B4FE-9AC1-D142-89B5-4D3791685B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8542286"/>
      </p:ext>
    </p:extLst>
  </p:cSld>
  <p:clrMapOvr>
    <a:masterClrMapping/>
  </p:clrMapOvr>
  <p:transition spd="slow">
    <p:push dir="u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dvanced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925D82-457F-D84D-B8DF-D8ADFD7E71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3362" y="3178298"/>
            <a:ext cx="5745032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35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3362" y="3575905"/>
            <a:ext cx="5747855" cy="2474376"/>
          </a:xfrm>
          <a:prstGeom prst="rect">
            <a:avLst/>
          </a:prstGeom>
        </p:spPr>
        <p:txBody>
          <a:bodyPr tIns="0" rIns="0" bIns="0" numCol="2" spcCol="126000">
            <a:noAutofit/>
          </a:bodyPr>
          <a:lstStyle>
            <a:lvl1pPr marL="128588" indent="-128588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 sz="1050" b="0">
                <a:solidFill>
                  <a:schemeClr val="tx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ext.</a:t>
            </a:r>
          </a:p>
        </p:txBody>
      </p:sp>
      <p:sp>
        <p:nvSpPr>
          <p:cNvPr id="17" name="タイトル プレースホルダ 1">
            <a:extLst>
              <a:ext uri="{FF2B5EF4-FFF2-40B4-BE49-F238E27FC236}">
                <a16:creationId xmlns:a16="http://schemas.microsoft.com/office/drawing/2014/main" id="{CCEDFD04-9A53-9241-851E-1D01DC555A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7455190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65B3EBD-E4F5-8E40-B07A-C04F3B1E7F2C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4D0A49B6-0BCC-C545-BF97-504B63062F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82FCE78-36AB-904B-98A8-CE3FFB1555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3363" y="1491374"/>
            <a:ext cx="5745031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/>
            </a:lvl1pPr>
            <a:lvl2pPr marL="342801" indent="0">
              <a:buNone/>
              <a:defRPr sz="1350" b="1"/>
            </a:lvl2pPr>
            <a:lvl3pPr marL="685612" indent="0">
              <a:buNone/>
              <a:defRPr sz="1350" b="1"/>
            </a:lvl3pPr>
            <a:lvl4pPr marL="1028414" indent="0">
              <a:buNone/>
              <a:defRPr sz="1350" b="1"/>
            </a:lvl4pPr>
            <a:lvl5pPr marL="1371218" indent="0">
              <a:buNone/>
              <a:defRPr sz="135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2ECF95F-F25E-8248-A0F3-BB1749A1B40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33362" y="1093767"/>
            <a:ext cx="5745031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50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Primary Titl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CB561E33-A943-DE60-D54D-8CF8D1633C7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24926" y="277419"/>
            <a:ext cx="844617" cy="394888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B9D2AE01-F1DE-6100-23F3-DB26F8C6E60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8084899" y="6303556"/>
            <a:ext cx="825739" cy="372288"/>
          </a:xfrm>
          <a:prstGeom prst="rect">
            <a:avLst/>
          </a:prstGeom>
        </p:spPr>
      </p:pic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54C5EE8-C42D-B549-B4D4-C0F00D68A42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102721" y="1093768"/>
            <a:ext cx="3052125" cy="4956513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33463"/>
              <a:gd name="connsiteX1" fmla="*/ 8912928 w 8915642"/>
              <a:gd name="connsiteY1" fmla="*/ 191388 h 6633463"/>
              <a:gd name="connsiteX2" fmla="*/ 8915642 w 8915642"/>
              <a:gd name="connsiteY2" fmla="*/ 6631809 h 6633463"/>
              <a:gd name="connsiteX3" fmla="*/ 579722 w 8915642"/>
              <a:gd name="connsiteY3" fmla="*/ 6633463 h 6633463"/>
              <a:gd name="connsiteX4" fmla="*/ 0 w 8915642"/>
              <a:gd name="connsiteY4" fmla="*/ 6053741 h 6633463"/>
              <a:gd name="connsiteX5" fmla="*/ 0 w 8915642"/>
              <a:gd name="connsiteY5" fmla="*/ 1 h 6633463"/>
              <a:gd name="connsiteX0" fmla="*/ 0 w 8933278"/>
              <a:gd name="connsiteY0" fmla="*/ 1653 h 6635115"/>
              <a:gd name="connsiteX1" fmla="*/ 8933248 w 8933278"/>
              <a:gd name="connsiteY1" fmla="*/ 0 h 6635115"/>
              <a:gd name="connsiteX2" fmla="*/ 8915642 w 8933278"/>
              <a:gd name="connsiteY2" fmla="*/ 6633461 h 6635115"/>
              <a:gd name="connsiteX3" fmla="*/ 579722 w 8933278"/>
              <a:gd name="connsiteY3" fmla="*/ 6635115 h 6635115"/>
              <a:gd name="connsiteX4" fmla="*/ 0 w 8933278"/>
              <a:gd name="connsiteY4" fmla="*/ 6055393 h 6635115"/>
              <a:gd name="connsiteX5" fmla="*/ 0 w 8933278"/>
              <a:gd name="connsiteY5" fmla="*/ 1653 h 6635115"/>
              <a:gd name="connsiteX0" fmla="*/ 0 w 8933323"/>
              <a:gd name="connsiteY0" fmla="*/ 1653 h 6645336"/>
              <a:gd name="connsiteX1" fmla="*/ 8933248 w 8933323"/>
              <a:gd name="connsiteY1" fmla="*/ 0 h 6645336"/>
              <a:gd name="connsiteX2" fmla="*/ 8927517 w 8933323"/>
              <a:gd name="connsiteY2" fmla="*/ 6645336 h 6645336"/>
              <a:gd name="connsiteX3" fmla="*/ 579722 w 8933323"/>
              <a:gd name="connsiteY3" fmla="*/ 6635115 h 6645336"/>
              <a:gd name="connsiteX4" fmla="*/ 0 w 8933323"/>
              <a:gd name="connsiteY4" fmla="*/ 6055393 h 6645336"/>
              <a:gd name="connsiteX5" fmla="*/ 0 w 8933323"/>
              <a:gd name="connsiteY5" fmla="*/ 1653 h 6645336"/>
              <a:gd name="connsiteX0" fmla="*/ 0 w 8927517"/>
              <a:gd name="connsiteY0" fmla="*/ 1653 h 6645336"/>
              <a:gd name="connsiteX1" fmla="*/ 7971347 w 8927517"/>
              <a:gd name="connsiteY1" fmla="*/ 0 h 6645336"/>
              <a:gd name="connsiteX2" fmla="*/ 8927517 w 8927517"/>
              <a:gd name="connsiteY2" fmla="*/ 6645336 h 6645336"/>
              <a:gd name="connsiteX3" fmla="*/ 579722 w 8927517"/>
              <a:gd name="connsiteY3" fmla="*/ 6635115 h 6645336"/>
              <a:gd name="connsiteX4" fmla="*/ 0 w 8927517"/>
              <a:gd name="connsiteY4" fmla="*/ 6055393 h 6645336"/>
              <a:gd name="connsiteX5" fmla="*/ 0 w 8927517"/>
              <a:gd name="connsiteY5" fmla="*/ 1653 h 6645336"/>
              <a:gd name="connsiteX0" fmla="*/ 0 w 7971422"/>
              <a:gd name="connsiteY0" fmla="*/ 1653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653 h 6645336"/>
              <a:gd name="connsiteX0" fmla="*/ 0 w 7971422"/>
              <a:gd name="connsiteY0" fmla="*/ 1301816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301816 h 6645336"/>
              <a:gd name="connsiteX0" fmla="*/ 0 w 7965616"/>
              <a:gd name="connsiteY0" fmla="*/ 1653 h 5345173"/>
              <a:gd name="connsiteX1" fmla="*/ 7957060 w 7965616"/>
              <a:gd name="connsiteY1" fmla="*/ 0 h 5345173"/>
              <a:gd name="connsiteX2" fmla="*/ 7965616 w 7965616"/>
              <a:gd name="connsiteY2" fmla="*/ 5345173 h 5345173"/>
              <a:gd name="connsiteX3" fmla="*/ 579722 w 7965616"/>
              <a:gd name="connsiteY3" fmla="*/ 5334952 h 5345173"/>
              <a:gd name="connsiteX4" fmla="*/ 0 w 7965616"/>
              <a:gd name="connsiteY4" fmla="*/ 4755230 h 5345173"/>
              <a:gd name="connsiteX5" fmla="*/ 0 w 7965616"/>
              <a:gd name="connsiteY5" fmla="*/ 1653 h 5345173"/>
              <a:gd name="connsiteX0" fmla="*/ 0 w 7971422"/>
              <a:gd name="connsiteY0" fmla="*/ 1653 h 5345173"/>
              <a:gd name="connsiteX1" fmla="*/ 7971347 w 7971422"/>
              <a:gd name="connsiteY1" fmla="*/ 0 h 5345173"/>
              <a:gd name="connsiteX2" fmla="*/ 7965616 w 7971422"/>
              <a:gd name="connsiteY2" fmla="*/ 5345173 h 5345173"/>
              <a:gd name="connsiteX3" fmla="*/ 579722 w 7971422"/>
              <a:gd name="connsiteY3" fmla="*/ 5334952 h 5345173"/>
              <a:gd name="connsiteX4" fmla="*/ 0 w 7971422"/>
              <a:gd name="connsiteY4" fmla="*/ 4755230 h 5345173"/>
              <a:gd name="connsiteX5" fmla="*/ 0 w 7971422"/>
              <a:gd name="connsiteY5" fmla="*/ 1653 h 5345173"/>
              <a:gd name="connsiteX0" fmla="*/ 0 w 7988356"/>
              <a:gd name="connsiteY0" fmla="*/ 187920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187920 h 5345173"/>
              <a:gd name="connsiteX0" fmla="*/ 0 w 7988356"/>
              <a:gd name="connsiteY0" fmla="*/ 210145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210145 h 5345173"/>
              <a:gd name="connsiteX0" fmla="*/ 0 w 7988356"/>
              <a:gd name="connsiteY0" fmla="*/ 0 h 5135028"/>
              <a:gd name="connsiteX1" fmla="*/ 7988281 w 7988356"/>
              <a:gd name="connsiteY1" fmla="*/ 7569 h 5135028"/>
              <a:gd name="connsiteX2" fmla="*/ 7982550 w 7988356"/>
              <a:gd name="connsiteY2" fmla="*/ 5135028 h 5135028"/>
              <a:gd name="connsiteX3" fmla="*/ 596656 w 7988356"/>
              <a:gd name="connsiteY3" fmla="*/ 5124807 h 5135028"/>
              <a:gd name="connsiteX4" fmla="*/ 16934 w 7988356"/>
              <a:gd name="connsiteY4" fmla="*/ 4545085 h 5135028"/>
              <a:gd name="connsiteX5" fmla="*/ 0 w 7988356"/>
              <a:gd name="connsiteY5" fmla="*/ 0 h 5135028"/>
              <a:gd name="connsiteX0" fmla="*/ 0 w 7982550"/>
              <a:gd name="connsiteY0" fmla="*/ 0 h 5135028"/>
              <a:gd name="connsiteX1" fmla="*/ 6028853 w 7982550"/>
              <a:gd name="connsiteY1" fmla="*/ 7569 h 5135028"/>
              <a:gd name="connsiteX2" fmla="*/ 7982550 w 7982550"/>
              <a:gd name="connsiteY2" fmla="*/ 5135028 h 5135028"/>
              <a:gd name="connsiteX3" fmla="*/ 596656 w 7982550"/>
              <a:gd name="connsiteY3" fmla="*/ 5124807 h 5135028"/>
              <a:gd name="connsiteX4" fmla="*/ 16934 w 7982550"/>
              <a:gd name="connsiteY4" fmla="*/ 4545085 h 5135028"/>
              <a:gd name="connsiteX5" fmla="*/ 0 w 7982550"/>
              <a:gd name="connsiteY5" fmla="*/ 0 h 5135028"/>
              <a:gd name="connsiteX0" fmla="*/ 0 w 6037636"/>
              <a:gd name="connsiteY0" fmla="*/ 0 h 5135028"/>
              <a:gd name="connsiteX1" fmla="*/ 6028853 w 6037636"/>
              <a:gd name="connsiteY1" fmla="*/ 7569 h 5135028"/>
              <a:gd name="connsiteX2" fmla="*/ 6037636 w 6037636"/>
              <a:gd name="connsiteY2" fmla="*/ 5135028 h 5135028"/>
              <a:gd name="connsiteX3" fmla="*/ 596656 w 6037636"/>
              <a:gd name="connsiteY3" fmla="*/ 5124807 h 5135028"/>
              <a:gd name="connsiteX4" fmla="*/ 16934 w 6037636"/>
              <a:gd name="connsiteY4" fmla="*/ 4545085 h 5135028"/>
              <a:gd name="connsiteX5" fmla="*/ 0 w 6037636"/>
              <a:gd name="connsiteY5" fmla="*/ 0 h 5135028"/>
              <a:gd name="connsiteX0" fmla="*/ 0 w 6028853"/>
              <a:gd name="connsiteY0" fmla="*/ 0 h 5124807"/>
              <a:gd name="connsiteX1" fmla="*/ 6028853 w 6028853"/>
              <a:gd name="connsiteY1" fmla="*/ 7569 h 5124807"/>
              <a:gd name="connsiteX2" fmla="*/ 4063693 w 6028853"/>
              <a:gd name="connsiteY2" fmla="*/ 5105999 h 5124807"/>
              <a:gd name="connsiteX3" fmla="*/ 596656 w 6028853"/>
              <a:gd name="connsiteY3" fmla="*/ 5124807 h 5124807"/>
              <a:gd name="connsiteX4" fmla="*/ 16934 w 6028853"/>
              <a:gd name="connsiteY4" fmla="*/ 4545085 h 5124807"/>
              <a:gd name="connsiteX5" fmla="*/ 0 w 6028853"/>
              <a:gd name="connsiteY5" fmla="*/ 0 h 5124807"/>
              <a:gd name="connsiteX0" fmla="*/ 0 w 4069500"/>
              <a:gd name="connsiteY0" fmla="*/ 0 h 5124807"/>
              <a:gd name="connsiteX1" fmla="*/ 4069425 w 4069500"/>
              <a:gd name="connsiteY1" fmla="*/ 7569 h 5124807"/>
              <a:gd name="connsiteX2" fmla="*/ 4063693 w 4069500"/>
              <a:gd name="connsiteY2" fmla="*/ 5105999 h 5124807"/>
              <a:gd name="connsiteX3" fmla="*/ 596656 w 4069500"/>
              <a:gd name="connsiteY3" fmla="*/ 5124807 h 5124807"/>
              <a:gd name="connsiteX4" fmla="*/ 16934 w 4069500"/>
              <a:gd name="connsiteY4" fmla="*/ 4545085 h 5124807"/>
              <a:gd name="connsiteX5" fmla="*/ 0 w 4069500"/>
              <a:gd name="connsiteY5" fmla="*/ 0 h 5124807"/>
              <a:gd name="connsiteX0" fmla="*/ 0 w 4069500"/>
              <a:gd name="connsiteY0" fmla="*/ 6946 h 5131753"/>
              <a:gd name="connsiteX1" fmla="*/ 4069425 w 4069500"/>
              <a:gd name="connsiteY1" fmla="*/ 0 h 5131753"/>
              <a:gd name="connsiteX2" fmla="*/ 4063693 w 4069500"/>
              <a:gd name="connsiteY2" fmla="*/ 5112945 h 5131753"/>
              <a:gd name="connsiteX3" fmla="*/ 596656 w 4069500"/>
              <a:gd name="connsiteY3" fmla="*/ 5131753 h 5131753"/>
              <a:gd name="connsiteX4" fmla="*/ 16934 w 4069500"/>
              <a:gd name="connsiteY4" fmla="*/ 4552031 h 5131753"/>
              <a:gd name="connsiteX5" fmla="*/ 0 w 4069500"/>
              <a:gd name="connsiteY5" fmla="*/ 6946 h 51317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69500" h="5131753">
                <a:moveTo>
                  <a:pt x="0" y="6946"/>
                </a:moveTo>
                <a:lnTo>
                  <a:pt x="4069425" y="0"/>
                </a:lnTo>
                <a:cubicBezTo>
                  <a:pt x="4070330" y="2146807"/>
                  <a:pt x="4062788" y="2966138"/>
                  <a:pt x="4063693" y="5112945"/>
                </a:cubicBezTo>
                <a:lnTo>
                  <a:pt x="596656" y="5131753"/>
                </a:lnTo>
                <a:cubicBezTo>
                  <a:pt x="276484" y="5131753"/>
                  <a:pt x="16934" y="4872203"/>
                  <a:pt x="16934" y="4552031"/>
                </a:cubicBezTo>
                <a:cubicBezTo>
                  <a:pt x="11289" y="3029594"/>
                  <a:pt x="5645" y="1529383"/>
                  <a:pt x="0" y="6946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JP"/>
              <a:t>Insert Photo</a:t>
            </a:r>
          </a:p>
        </p:txBody>
      </p:sp>
      <p:sp>
        <p:nvSpPr>
          <p:cNvPr id="26" name="スライド番号プレースホルダ 5">
            <a:extLst>
              <a:ext uri="{FF2B5EF4-FFF2-40B4-BE49-F238E27FC236}">
                <a16:creationId xmlns:a16="http://schemas.microsoft.com/office/drawing/2014/main" id="{3D5D14EF-A351-224D-8142-E1BEE44BBC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6807946"/>
      </p:ext>
    </p:extLst>
  </p:cSld>
  <p:clrMapOvr>
    <a:masterClrMapping/>
  </p:clrMapOvr>
  <p:transition spd="slow">
    <p:push dir="u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dvanced 1/3 Image (Full Ble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925D82-457F-D84D-B8DF-D8ADFD7E71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3362" y="3178298"/>
            <a:ext cx="4281488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35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3362" y="3575905"/>
            <a:ext cx="5747855" cy="2859621"/>
          </a:xfrm>
          <a:prstGeom prst="rect">
            <a:avLst/>
          </a:prstGeom>
        </p:spPr>
        <p:txBody>
          <a:bodyPr tIns="0" rIns="0" bIns="0" numCol="2" spcCol="126000">
            <a:noAutofit/>
          </a:bodyPr>
          <a:lstStyle>
            <a:lvl1pPr marL="128588" indent="-128588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 sz="1050" b="0">
                <a:solidFill>
                  <a:schemeClr val="tx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ext.</a:t>
            </a:r>
          </a:p>
        </p:txBody>
      </p:sp>
      <p:sp>
        <p:nvSpPr>
          <p:cNvPr id="17" name="タイトル プレースホルダ 1">
            <a:extLst>
              <a:ext uri="{FF2B5EF4-FFF2-40B4-BE49-F238E27FC236}">
                <a16:creationId xmlns:a16="http://schemas.microsoft.com/office/drawing/2014/main" id="{6FB24DD6-99CB-CE43-A787-C9F60DC95F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5526659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7130E5B-E573-584B-8C83-F8409492B14B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DB94AACD-56D4-F146-AFC0-5CBE6630C5A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3A8AA34-7C7D-A24F-AF24-5158DD2AB0E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3363" y="1491374"/>
            <a:ext cx="5745032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/>
            </a:lvl1pPr>
            <a:lvl2pPr marL="342801" indent="0">
              <a:buNone/>
              <a:defRPr sz="1350" b="1"/>
            </a:lvl2pPr>
            <a:lvl3pPr marL="685612" indent="0">
              <a:buNone/>
              <a:defRPr sz="1350" b="1"/>
            </a:lvl3pPr>
            <a:lvl4pPr marL="1028414" indent="0">
              <a:buNone/>
              <a:defRPr sz="1350" b="1"/>
            </a:lvl4pPr>
            <a:lvl5pPr marL="1371218" indent="0">
              <a:buNone/>
              <a:defRPr sz="135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8F4B55CE-CF3E-7E44-A66A-599621CA5C5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33362" y="1093767"/>
            <a:ext cx="5745032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50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Primary Titl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FC17EBA-AF95-91EB-8376-9339194045F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084899" y="6303556"/>
            <a:ext cx="825739" cy="372288"/>
          </a:xfrm>
          <a:prstGeom prst="rect">
            <a:avLst/>
          </a:prstGeom>
        </p:spPr>
      </p:pic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54C5EE8-C42D-B549-B4D4-C0F00D68A42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86290" y="-2842"/>
            <a:ext cx="3057710" cy="6860842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33463"/>
              <a:gd name="connsiteX1" fmla="*/ 8912928 w 8915642"/>
              <a:gd name="connsiteY1" fmla="*/ 191388 h 6633463"/>
              <a:gd name="connsiteX2" fmla="*/ 8915642 w 8915642"/>
              <a:gd name="connsiteY2" fmla="*/ 6631809 h 6633463"/>
              <a:gd name="connsiteX3" fmla="*/ 579722 w 8915642"/>
              <a:gd name="connsiteY3" fmla="*/ 6633463 h 6633463"/>
              <a:gd name="connsiteX4" fmla="*/ 0 w 8915642"/>
              <a:gd name="connsiteY4" fmla="*/ 6053741 h 6633463"/>
              <a:gd name="connsiteX5" fmla="*/ 0 w 8915642"/>
              <a:gd name="connsiteY5" fmla="*/ 1 h 6633463"/>
              <a:gd name="connsiteX0" fmla="*/ 0 w 8933278"/>
              <a:gd name="connsiteY0" fmla="*/ 1653 h 6635115"/>
              <a:gd name="connsiteX1" fmla="*/ 8933248 w 8933278"/>
              <a:gd name="connsiteY1" fmla="*/ 0 h 6635115"/>
              <a:gd name="connsiteX2" fmla="*/ 8915642 w 8933278"/>
              <a:gd name="connsiteY2" fmla="*/ 6633461 h 6635115"/>
              <a:gd name="connsiteX3" fmla="*/ 579722 w 8933278"/>
              <a:gd name="connsiteY3" fmla="*/ 6635115 h 6635115"/>
              <a:gd name="connsiteX4" fmla="*/ 0 w 8933278"/>
              <a:gd name="connsiteY4" fmla="*/ 6055393 h 6635115"/>
              <a:gd name="connsiteX5" fmla="*/ 0 w 8933278"/>
              <a:gd name="connsiteY5" fmla="*/ 1653 h 6635115"/>
              <a:gd name="connsiteX0" fmla="*/ 0 w 8933323"/>
              <a:gd name="connsiteY0" fmla="*/ 1653 h 6645336"/>
              <a:gd name="connsiteX1" fmla="*/ 8933248 w 8933323"/>
              <a:gd name="connsiteY1" fmla="*/ 0 h 6645336"/>
              <a:gd name="connsiteX2" fmla="*/ 8927517 w 8933323"/>
              <a:gd name="connsiteY2" fmla="*/ 6645336 h 6645336"/>
              <a:gd name="connsiteX3" fmla="*/ 579722 w 8933323"/>
              <a:gd name="connsiteY3" fmla="*/ 6635115 h 6645336"/>
              <a:gd name="connsiteX4" fmla="*/ 0 w 8933323"/>
              <a:gd name="connsiteY4" fmla="*/ 6055393 h 6645336"/>
              <a:gd name="connsiteX5" fmla="*/ 0 w 8933323"/>
              <a:gd name="connsiteY5" fmla="*/ 1653 h 6645336"/>
              <a:gd name="connsiteX0" fmla="*/ 0 w 8927517"/>
              <a:gd name="connsiteY0" fmla="*/ 1653 h 6645336"/>
              <a:gd name="connsiteX1" fmla="*/ 7971347 w 8927517"/>
              <a:gd name="connsiteY1" fmla="*/ 0 h 6645336"/>
              <a:gd name="connsiteX2" fmla="*/ 8927517 w 8927517"/>
              <a:gd name="connsiteY2" fmla="*/ 6645336 h 6645336"/>
              <a:gd name="connsiteX3" fmla="*/ 579722 w 8927517"/>
              <a:gd name="connsiteY3" fmla="*/ 6635115 h 6645336"/>
              <a:gd name="connsiteX4" fmla="*/ 0 w 8927517"/>
              <a:gd name="connsiteY4" fmla="*/ 6055393 h 6645336"/>
              <a:gd name="connsiteX5" fmla="*/ 0 w 8927517"/>
              <a:gd name="connsiteY5" fmla="*/ 1653 h 6645336"/>
              <a:gd name="connsiteX0" fmla="*/ 0 w 7971422"/>
              <a:gd name="connsiteY0" fmla="*/ 1653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653 h 6645336"/>
              <a:gd name="connsiteX0" fmla="*/ 0 w 7971422"/>
              <a:gd name="connsiteY0" fmla="*/ 1301816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301816 h 6645336"/>
              <a:gd name="connsiteX0" fmla="*/ 0 w 7965616"/>
              <a:gd name="connsiteY0" fmla="*/ 1653 h 5345173"/>
              <a:gd name="connsiteX1" fmla="*/ 7957060 w 7965616"/>
              <a:gd name="connsiteY1" fmla="*/ 0 h 5345173"/>
              <a:gd name="connsiteX2" fmla="*/ 7965616 w 7965616"/>
              <a:gd name="connsiteY2" fmla="*/ 5345173 h 5345173"/>
              <a:gd name="connsiteX3" fmla="*/ 579722 w 7965616"/>
              <a:gd name="connsiteY3" fmla="*/ 5334952 h 5345173"/>
              <a:gd name="connsiteX4" fmla="*/ 0 w 7965616"/>
              <a:gd name="connsiteY4" fmla="*/ 4755230 h 5345173"/>
              <a:gd name="connsiteX5" fmla="*/ 0 w 7965616"/>
              <a:gd name="connsiteY5" fmla="*/ 1653 h 5345173"/>
              <a:gd name="connsiteX0" fmla="*/ 0 w 7971422"/>
              <a:gd name="connsiteY0" fmla="*/ 1653 h 5345173"/>
              <a:gd name="connsiteX1" fmla="*/ 7971347 w 7971422"/>
              <a:gd name="connsiteY1" fmla="*/ 0 h 5345173"/>
              <a:gd name="connsiteX2" fmla="*/ 7965616 w 7971422"/>
              <a:gd name="connsiteY2" fmla="*/ 5345173 h 5345173"/>
              <a:gd name="connsiteX3" fmla="*/ 579722 w 7971422"/>
              <a:gd name="connsiteY3" fmla="*/ 5334952 h 5345173"/>
              <a:gd name="connsiteX4" fmla="*/ 0 w 7971422"/>
              <a:gd name="connsiteY4" fmla="*/ 4755230 h 5345173"/>
              <a:gd name="connsiteX5" fmla="*/ 0 w 7971422"/>
              <a:gd name="connsiteY5" fmla="*/ 1653 h 5345173"/>
              <a:gd name="connsiteX0" fmla="*/ 0 w 7988356"/>
              <a:gd name="connsiteY0" fmla="*/ 187920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187920 h 5345173"/>
              <a:gd name="connsiteX0" fmla="*/ 0 w 7988356"/>
              <a:gd name="connsiteY0" fmla="*/ 210145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210145 h 5345173"/>
              <a:gd name="connsiteX0" fmla="*/ 0 w 7988356"/>
              <a:gd name="connsiteY0" fmla="*/ 0 h 5135028"/>
              <a:gd name="connsiteX1" fmla="*/ 7988281 w 7988356"/>
              <a:gd name="connsiteY1" fmla="*/ 7569 h 5135028"/>
              <a:gd name="connsiteX2" fmla="*/ 7982550 w 7988356"/>
              <a:gd name="connsiteY2" fmla="*/ 5135028 h 5135028"/>
              <a:gd name="connsiteX3" fmla="*/ 596656 w 7988356"/>
              <a:gd name="connsiteY3" fmla="*/ 5124807 h 5135028"/>
              <a:gd name="connsiteX4" fmla="*/ 16934 w 7988356"/>
              <a:gd name="connsiteY4" fmla="*/ 4545085 h 5135028"/>
              <a:gd name="connsiteX5" fmla="*/ 0 w 7988356"/>
              <a:gd name="connsiteY5" fmla="*/ 0 h 5135028"/>
              <a:gd name="connsiteX0" fmla="*/ 0 w 7982550"/>
              <a:gd name="connsiteY0" fmla="*/ 0 h 5135028"/>
              <a:gd name="connsiteX1" fmla="*/ 6028853 w 7982550"/>
              <a:gd name="connsiteY1" fmla="*/ 7569 h 5135028"/>
              <a:gd name="connsiteX2" fmla="*/ 7982550 w 7982550"/>
              <a:gd name="connsiteY2" fmla="*/ 5135028 h 5135028"/>
              <a:gd name="connsiteX3" fmla="*/ 596656 w 7982550"/>
              <a:gd name="connsiteY3" fmla="*/ 5124807 h 5135028"/>
              <a:gd name="connsiteX4" fmla="*/ 16934 w 7982550"/>
              <a:gd name="connsiteY4" fmla="*/ 4545085 h 5135028"/>
              <a:gd name="connsiteX5" fmla="*/ 0 w 7982550"/>
              <a:gd name="connsiteY5" fmla="*/ 0 h 5135028"/>
              <a:gd name="connsiteX0" fmla="*/ 0 w 6037636"/>
              <a:gd name="connsiteY0" fmla="*/ 0 h 5135028"/>
              <a:gd name="connsiteX1" fmla="*/ 6028853 w 6037636"/>
              <a:gd name="connsiteY1" fmla="*/ 7569 h 5135028"/>
              <a:gd name="connsiteX2" fmla="*/ 6037636 w 6037636"/>
              <a:gd name="connsiteY2" fmla="*/ 5135028 h 5135028"/>
              <a:gd name="connsiteX3" fmla="*/ 596656 w 6037636"/>
              <a:gd name="connsiteY3" fmla="*/ 5124807 h 5135028"/>
              <a:gd name="connsiteX4" fmla="*/ 16934 w 6037636"/>
              <a:gd name="connsiteY4" fmla="*/ 4545085 h 5135028"/>
              <a:gd name="connsiteX5" fmla="*/ 0 w 6037636"/>
              <a:gd name="connsiteY5" fmla="*/ 0 h 5135028"/>
              <a:gd name="connsiteX0" fmla="*/ 0 w 6028853"/>
              <a:gd name="connsiteY0" fmla="*/ 0 h 5124807"/>
              <a:gd name="connsiteX1" fmla="*/ 6028853 w 6028853"/>
              <a:gd name="connsiteY1" fmla="*/ 7569 h 5124807"/>
              <a:gd name="connsiteX2" fmla="*/ 4063693 w 6028853"/>
              <a:gd name="connsiteY2" fmla="*/ 5105999 h 5124807"/>
              <a:gd name="connsiteX3" fmla="*/ 596656 w 6028853"/>
              <a:gd name="connsiteY3" fmla="*/ 5124807 h 5124807"/>
              <a:gd name="connsiteX4" fmla="*/ 16934 w 6028853"/>
              <a:gd name="connsiteY4" fmla="*/ 4545085 h 5124807"/>
              <a:gd name="connsiteX5" fmla="*/ 0 w 6028853"/>
              <a:gd name="connsiteY5" fmla="*/ 0 h 5124807"/>
              <a:gd name="connsiteX0" fmla="*/ 0 w 4069500"/>
              <a:gd name="connsiteY0" fmla="*/ 0 h 5124807"/>
              <a:gd name="connsiteX1" fmla="*/ 4069425 w 4069500"/>
              <a:gd name="connsiteY1" fmla="*/ 7569 h 5124807"/>
              <a:gd name="connsiteX2" fmla="*/ 4063693 w 4069500"/>
              <a:gd name="connsiteY2" fmla="*/ 5105999 h 5124807"/>
              <a:gd name="connsiteX3" fmla="*/ 596656 w 4069500"/>
              <a:gd name="connsiteY3" fmla="*/ 5124807 h 5124807"/>
              <a:gd name="connsiteX4" fmla="*/ 16934 w 4069500"/>
              <a:gd name="connsiteY4" fmla="*/ 4545085 h 5124807"/>
              <a:gd name="connsiteX5" fmla="*/ 0 w 4069500"/>
              <a:gd name="connsiteY5" fmla="*/ 0 h 5124807"/>
              <a:gd name="connsiteX0" fmla="*/ 0 w 4069500"/>
              <a:gd name="connsiteY0" fmla="*/ 6946 h 5131753"/>
              <a:gd name="connsiteX1" fmla="*/ 4069425 w 4069500"/>
              <a:gd name="connsiteY1" fmla="*/ 0 h 5131753"/>
              <a:gd name="connsiteX2" fmla="*/ 4063693 w 4069500"/>
              <a:gd name="connsiteY2" fmla="*/ 5112945 h 5131753"/>
              <a:gd name="connsiteX3" fmla="*/ 596656 w 4069500"/>
              <a:gd name="connsiteY3" fmla="*/ 5131753 h 5131753"/>
              <a:gd name="connsiteX4" fmla="*/ 16934 w 4069500"/>
              <a:gd name="connsiteY4" fmla="*/ 4552031 h 5131753"/>
              <a:gd name="connsiteX5" fmla="*/ 0 w 4069500"/>
              <a:gd name="connsiteY5" fmla="*/ 6946 h 5131753"/>
              <a:gd name="connsiteX0" fmla="*/ 0 w 4082753"/>
              <a:gd name="connsiteY0" fmla="*/ 2 h 6874096"/>
              <a:gd name="connsiteX1" fmla="*/ 4082678 w 4082753"/>
              <a:gd name="connsiteY1" fmla="*/ 1742343 h 6874096"/>
              <a:gd name="connsiteX2" fmla="*/ 4076946 w 4082753"/>
              <a:gd name="connsiteY2" fmla="*/ 6855288 h 6874096"/>
              <a:gd name="connsiteX3" fmla="*/ 609909 w 4082753"/>
              <a:gd name="connsiteY3" fmla="*/ 6874096 h 6874096"/>
              <a:gd name="connsiteX4" fmla="*/ 30187 w 4082753"/>
              <a:gd name="connsiteY4" fmla="*/ 6294374 h 6874096"/>
              <a:gd name="connsiteX5" fmla="*/ 0 w 4082753"/>
              <a:gd name="connsiteY5" fmla="*/ 2 h 6874096"/>
              <a:gd name="connsiteX0" fmla="*/ 0 w 4095958"/>
              <a:gd name="connsiteY0" fmla="*/ 6946 h 6881040"/>
              <a:gd name="connsiteX1" fmla="*/ 4095930 w 4095958"/>
              <a:gd name="connsiteY1" fmla="*/ 0 h 6881040"/>
              <a:gd name="connsiteX2" fmla="*/ 4076946 w 4095958"/>
              <a:gd name="connsiteY2" fmla="*/ 6862232 h 6881040"/>
              <a:gd name="connsiteX3" fmla="*/ 609909 w 4095958"/>
              <a:gd name="connsiteY3" fmla="*/ 6881040 h 6881040"/>
              <a:gd name="connsiteX4" fmla="*/ 30187 w 4095958"/>
              <a:gd name="connsiteY4" fmla="*/ 6301318 h 6881040"/>
              <a:gd name="connsiteX5" fmla="*/ 0 w 4095958"/>
              <a:gd name="connsiteY5" fmla="*/ 6946 h 6881040"/>
              <a:gd name="connsiteX0" fmla="*/ 0 w 4076946"/>
              <a:gd name="connsiteY0" fmla="*/ 0 h 6874094"/>
              <a:gd name="connsiteX1" fmla="*/ 3870643 w 4076946"/>
              <a:gd name="connsiteY1" fmla="*/ 191837 h 6874094"/>
              <a:gd name="connsiteX2" fmla="*/ 4076946 w 4076946"/>
              <a:gd name="connsiteY2" fmla="*/ 6855286 h 6874094"/>
              <a:gd name="connsiteX3" fmla="*/ 609909 w 4076946"/>
              <a:gd name="connsiteY3" fmla="*/ 6874094 h 6874094"/>
              <a:gd name="connsiteX4" fmla="*/ 30187 w 4076946"/>
              <a:gd name="connsiteY4" fmla="*/ 6294372 h 6874094"/>
              <a:gd name="connsiteX5" fmla="*/ 0 w 4076946"/>
              <a:gd name="connsiteY5" fmla="*/ 0 h 6874094"/>
              <a:gd name="connsiteX0" fmla="*/ 0 w 4076946"/>
              <a:gd name="connsiteY0" fmla="*/ 0 h 6874094"/>
              <a:gd name="connsiteX1" fmla="*/ 4069426 w 4076946"/>
              <a:gd name="connsiteY1" fmla="*/ 19559 h 6874094"/>
              <a:gd name="connsiteX2" fmla="*/ 4076946 w 4076946"/>
              <a:gd name="connsiteY2" fmla="*/ 6855286 h 6874094"/>
              <a:gd name="connsiteX3" fmla="*/ 609909 w 4076946"/>
              <a:gd name="connsiteY3" fmla="*/ 6874094 h 6874094"/>
              <a:gd name="connsiteX4" fmla="*/ 30187 w 4076946"/>
              <a:gd name="connsiteY4" fmla="*/ 6294372 h 6874094"/>
              <a:gd name="connsiteX5" fmla="*/ 0 w 4076946"/>
              <a:gd name="connsiteY5" fmla="*/ 0 h 6874094"/>
              <a:gd name="connsiteX0" fmla="*/ 0 w 4076946"/>
              <a:gd name="connsiteY0" fmla="*/ 99710 h 6854535"/>
              <a:gd name="connsiteX1" fmla="*/ 4069426 w 4076946"/>
              <a:gd name="connsiteY1" fmla="*/ 0 h 6854535"/>
              <a:gd name="connsiteX2" fmla="*/ 4076946 w 4076946"/>
              <a:gd name="connsiteY2" fmla="*/ 6835727 h 6854535"/>
              <a:gd name="connsiteX3" fmla="*/ 609909 w 4076946"/>
              <a:gd name="connsiteY3" fmla="*/ 6854535 h 6854535"/>
              <a:gd name="connsiteX4" fmla="*/ 30187 w 4076946"/>
              <a:gd name="connsiteY4" fmla="*/ 6274813 h 6854535"/>
              <a:gd name="connsiteX5" fmla="*/ 0 w 4076946"/>
              <a:gd name="connsiteY5" fmla="*/ 99710 h 6854535"/>
              <a:gd name="connsiteX0" fmla="*/ 0 w 4076946"/>
              <a:gd name="connsiteY0" fmla="*/ 0 h 6860842"/>
              <a:gd name="connsiteX1" fmla="*/ 4069426 w 4076946"/>
              <a:gd name="connsiteY1" fmla="*/ 6307 h 6860842"/>
              <a:gd name="connsiteX2" fmla="*/ 4076946 w 4076946"/>
              <a:gd name="connsiteY2" fmla="*/ 6842034 h 6860842"/>
              <a:gd name="connsiteX3" fmla="*/ 609909 w 4076946"/>
              <a:gd name="connsiteY3" fmla="*/ 6860842 h 6860842"/>
              <a:gd name="connsiteX4" fmla="*/ 30187 w 4076946"/>
              <a:gd name="connsiteY4" fmla="*/ 6281120 h 6860842"/>
              <a:gd name="connsiteX5" fmla="*/ 0 w 4076946"/>
              <a:gd name="connsiteY5" fmla="*/ 0 h 6860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76946" h="6860842">
                <a:moveTo>
                  <a:pt x="0" y="0"/>
                </a:moveTo>
                <a:lnTo>
                  <a:pt x="4069426" y="6307"/>
                </a:lnTo>
                <a:cubicBezTo>
                  <a:pt x="4070331" y="2153114"/>
                  <a:pt x="4076041" y="4695227"/>
                  <a:pt x="4076946" y="6842034"/>
                </a:cubicBezTo>
                <a:lnTo>
                  <a:pt x="609909" y="6860842"/>
                </a:lnTo>
                <a:cubicBezTo>
                  <a:pt x="289737" y="6860842"/>
                  <a:pt x="30187" y="6601292"/>
                  <a:pt x="30187" y="6281120"/>
                </a:cubicBezTo>
                <a:cubicBezTo>
                  <a:pt x="24542" y="4758683"/>
                  <a:pt x="5645" y="1522437"/>
                  <a:pt x="0" y="0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JP"/>
              <a:t>Insert Photo</a:t>
            </a:r>
          </a:p>
        </p:txBody>
      </p:sp>
      <p:sp>
        <p:nvSpPr>
          <p:cNvPr id="21" name="スライド番号プレースホルダ 5">
            <a:extLst>
              <a:ext uri="{FF2B5EF4-FFF2-40B4-BE49-F238E27FC236}">
                <a16:creationId xmlns:a16="http://schemas.microsoft.com/office/drawing/2014/main" id="{C55CC856-2ADD-F44F-96B6-03734457CC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8169705"/>
      </p:ext>
    </p:extLst>
  </p:cSld>
  <p:clrMapOvr>
    <a:masterClrMapping/>
  </p:clrMapOvr>
  <p:transition spd="slow">
    <p:push dir="u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dvanced Image 4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21DF8897-54F9-C24F-8261-0C5418827A6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833053" y="3076287"/>
            <a:ext cx="2079031" cy="2913034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18553"/>
              <a:gd name="connsiteX1" fmla="*/ 8912928 w 8915642"/>
              <a:gd name="connsiteY1" fmla="*/ 176478 h 6618553"/>
              <a:gd name="connsiteX2" fmla="*/ 8915642 w 8915642"/>
              <a:gd name="connsiteY2" fmla="*/ 6616899 h 6618553"/>
              <a:gd name="connsiteX3" fmla="*/ 579722 w 8915642"/>
              <a:gd name="connsiteY3" fmla="*/ 6618553 h 6618553"/>
              <a:gd name="connsiteX4" fmla="*/ 0 w 8915642"/>
              <a:gd name="connsiteY4" fmla="*/ 6038831 h 6618553"/>
              <a:gd name="connsiteX5" fmla="*/ 0 w 8915642"/>
              <a:gd name="connsiteY5" fmla="*/ 1 h 6618553"/>
              <a:gd name="connsiteX0" fmla="*/ 0 w 8915642"/>
              <a:gd name="connsiteY0" fmla="*/ 25404 h 6643956"/>
              <a:gd name="connsiteX1" fmla="*/ 6015348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25404 h 6643956"/>
              <a:gd name="connsiteX0" fmla="*/ 0 w 8915642"/>
              <a:gd name="connsiteY0" fmla="*/ 1653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1653 h 6620205"/>
              <a:gd name="connsiteX0" fmla="*/ 0 w 8915642"/>
              <a:gd name="connsiteY0" fmla="*/ 96656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96656 h 6620205"/>
              <a:gd name="connsiteX0" fmla="*/ 0 w 8915642"/>
              <a:gd name="connsiteY0" fmla="*/ 0 h 6642302"/>
              <a:gd name="connsiteX1" fmla="*/ 6003473 w 8915642"/>
              <a:gd name="connsiteY1" fmla="*/ 22097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0 h 6642302"/>
              <a:gd name="connsiteX1" fmla="*/ 5932221 w 8915642"/>
              <a:gd name="connsiteY1" fmla="*/ 152725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1654 h 6643956"/>
              <a:gd name="connsiteX1" fmla="*/ 6003473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1654 h 6643956"/>
              <a:gd name="connsiteX0" fmla="*/ 0 w 6018062"/>
              <a:gd name="connsiteY0" fmla="*/ 1654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1654 h 6654178"/>
              <a:gd name="connsiteX0" fmla="*/ 0 w 6018062"/>
              <a:gd name="connsiteY0" fmla="*/ 203535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203535 h 6654178"/>
              <a:gd name="connsiteX0" fmla="*/ 0 w 6018062"/>
              <a:gd name="connsiteY0" fmla="*/ 1655 h 6452298"/>
              <a:gd name="connsiteX1" fmla="*/ 4055920 w 6018062"/>
              <a:gd name="connsiteY1" fmla="*/ 0 h 6452298"/>
              <a:gd name="connsiteX2" fmla="*/ 6018062 w 6018062"/>
              <a:gd name="connsiteY2" fmla="*/ 6452298 h 6452298"/>
              <a:gd name="connsiteX3" fmla="*/ 579722 w 6018062"/>
              <a:gd name="connsiteY3" fmla="*/ 6442076 h 6452298"/>
              <a:gd name="connsiteX4" fmla="*/ 0 w 6018062"/>
              <a:gd name="connsiteY4" fmla="*/ 5862354 h 6452298"/>
              <a:gd name="connsiteX5" fmla="*/ 0 w 6018062"/>
              <a:gd name="connsiteY5" fmla="*/ 1655 h 6452298"/>
              <a:gd name="connsiteX0" fmla="*/ 0 w 4055973"/>
              <a:gd name="connsiteY0" fmla="*/ 1655 h 6452298"/>
              <a:gd name="connsiteX1" fmla="*/ 4055920 w 4055973"/>
              <a:gd name="connsiteY1" fmla="*/ 0 h 6452298"/>
              <a:gd name="connsiteX2" fmla="*/ 4046758 w 4055973"/>
              <a:gd name="connsiteY2" fmla="*/ 6452298 h 6452298"/>
              <a:gd name="connsiteX3" fmla="*/ 579722 w 4055973"/>
              <a:gd name="connsiteY3" fmla="*/ 6442076 h 6452298"/>
              <a:gd name="connsiteX4" fmla="*/ 0 w 4055973"/>
              <a:gd name="connsiteY4" fmla="*/ 5862354 h 6452298"/>
              <a:gd name="connsiteX5" fmla="*/ 0 w 4055973"/>
              <a:gd name="connsiteY5" fmla="*/ 1655 h 6452298"/>
              <a:gd name="connsiteX0" fmla="*/ 0 w 4055973"/>
              <a:gd name="connsiteY0" fmla="*/ 0 h 6652523"/>
              <a:gd name="connsiteX1" fmla="*/ 4055920 w 4055973"/>
              <a:gd name="connsiteY1" fmla="*/ 200225 h 6652523"/>
              <a:gd name="connsiteX2" fmla="*/ 4046758 w 4055973"/>
              <a:gd name="connsiteY2" fmla="*/ 6652523 h 6652523"/>
              <a:gd name="connsiteX3" fmla="*/ 579722 w 4055973"/>
              <a:gd name="connsiteY3" fmla="*/ 6642301 h 6652523"/>
              <a:gd name="connsiteX4" fmla="*/ 0 w 4055973"/>
              <a:gd name="connsiteY4" fmla="*/ 6062579 h 6652523"/>
              <a:gd name="connsiteX5" fmla="*/ 0 w 4055973"/>
              <a:gd name="connsiteY5" fmla="*/ 0 h 6652523"/>
              <a:gd name="connsiteX0" fmla="*/ 0 w 4046758"/>
              <a:gd name="connsiteY0" fmla="*/ 0 h 6652523"/>
              <a:gd name="connsiteX1" fmla="*/ 4044045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1655 h 6654178"/>
              <a:gd name="connsiteX1" fmla="*/ 3082144 w 4046758"/>
              <a:gd name="connsiteY1" fmla="*/ 0 h 6654178"/>
              <a:gd name="connsiteX2" fmla="*/ 4046758 w 4046758"/>
              <a:gd name="connsiteY2" fmla="*/ 6654178 h 6654178"/>
              <a:gd name="connsiteX3" fmla="*/ 579722 w 4046758"/>
              <a:gd name="connsiteY3" fmla="*/ 6643956 h 6654178"/>
              <a:gd name="connsiteX4" fmla="*/ 0 w 4046758"/>
              <a:gd name="connsiteY4" fmla="*/ 6064234 h 6654178"/>
              <a:gd name="connsiteX5" fmla="*/ 0 w 4046758"/>
              <a:gd name="connsiteY5" fmla="*/ 1655 h 6654178"/>
              <a:gd name="connsiteX0" fmla="*/ 0 w 4046758"/>
              <a:gd name="connsiteY0" fmla="*/ 0 h 6652523"/>
              <a:gd name="connsiteX1" fmla="*/ 2975266 w 4046758"/>
              <a:gd name="connsiteY1" fmla="*/ 93348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70268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82144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3082197"/>
              <a:gd name="connsiteY0" fmla="*/ 0 h 6652523"/>
              <a:gd name="connsiteX1" fmla="*/ 3082144 w 3082197"/>
              <a:gd name="connsiteY1" fmla="*/ 10220 h 6652523"/>
              <a:gd name="connsiteX2" fmla="*/ 3072982 w 3082197"/>
              <a:gd name="connsiteY2" fmla="*/ 6652523 h 6652523"/>
              <a:gd name="connsiteX3" fmla="*/ 579722 w 3082197"/>
              <a:gd name="connsiteY3" fmla="*/ 6642301 h 6652523"/>
              <a:gd name="connsiteX4" fmla="*/ 0 w 3082197"/>
              <a:gd name="connsiteY4" fmla="*/ 6062579 h 6652523"/>
              <a:gd name="connsiteX5" fmla="*/ 0 w 3082197"/>
              <a:gd name="connsiteY5" fmla="*/ 0 h 6652523"/>
              <a:gd name="connsiteX0" fmla="*/ 0 w 3072982"/>
              <a:gd name="connsiteY0" fmla="*/ 0 h 6652523"/>
              <a:gd name="connsiteX1" fmla="*/ 3010892 w 3072982"/>
              <a:gd name="connsiteY1" fmla="*/ 164599 h 6652523"/>
              <a:gd name="connsiteX2" fmla="*/ 3072982 w 3072982"/>
              <a:gd name="connsiteY2" fmla="*/ 6652523 h 6652523"/>
              <a:gd name="connsiteX3" fmla="*/ 579722 w 3072982"/>
              <a:gd name="connsiteY3" fmla="*/ 6642301 h 6652523"/>
              <a:gd name="connsiteX4" fmla="*/ 0 w 3072982"/>
              <a:gd name="connsiteY4" fmla="*/ 6062579 h 6652523"/>
              <a:gd name="connsiteX5" fmla="*/ 0 w 3072982"/>
              <a:gd name="connsiteY5" fmla="*/ 0 h 6652523"/>
              <a:gd name="connsiteX0" fmla="*/ 0 w 3082197"/>
              <a:gd name="connsiteY0" fmla="*/ 1656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656 h 6654179"/>
              <a:gd name="connsiteX0" fmla="*/ 0 w 3082197"/>
              <a:gd name="connsiteY0" fmla="*/ 1316107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316107 h 6654179"/>
              <a:gd name="connsiteX0" fmla="*/ 0 w 3082197"/>
              <a:gd name="connsiteY0" fmla="*/ 1657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1657 h 5339729"/>
              <a:gd name="connsiteX0" fmla="*/ 0 w 3082197"/>
              <a:gd name="connsiteY0" fmla="*/ 2202416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2202416 h 5339729"/>
              <a:gd name="connsiteX0" fmla="*/ 0 w 3082197"/>
              <a:gd name="connsiteY0" fmla="*/ 1656 h 3138969"/>
              <a:gd name="connsiteX1" fmla="*/ 3082144 w 3082197"/>
              <a:gd name="connsiteY1" fmla="*/ 0 h 3138969"/>
              <a:gd name="connsiteX2" fmla="*/ 3072982 w 3082197"/>
              <a:gd name="connsiteY2" fmla="*/ 3138969 h 3138969"/>
              <a:gd name="connsiteX3" fmla="*/ 579722 w 3082197"/>
              <a:gd name="connsiteY3" fmla="*/ 3128747 h 3138969"/>
              <a:gd name="connsiteX4" fmla="*/ 0 w 3082197"/>
              <a:gd name="connsiteY4" fmla="*/ 2549025 h 3138969"/>
              <a:gd name="connsiteX5" fmla="*/ 0 w 3082197"/>
              <a:gd name="connsiteY5" fmla="*/ 1656 h 3138969"/>
              <a:gd name="connsiteX0" fmla="*/ 0 w 3082145"/>
              <a:gd name="connsiteY0" fmla="*/ 1656 h 3150544"/>
              <a:gd name="connsiteX1" fmla="*/ 3082144 w 3082145"/>
              <a:gd name="connsiteY1" fmla="*/ 0 h 3150544"/>
              <a:gd name="connsiteX2" fmla="*/ 2772041 w 3082145"/>
              <a:gd name="connsiteY2" fmla="*/ 3150544 h 3150544"/>
              <a:gd name="connsiteX3" fmla="*/ 579722 w 3082145"/>
              <a:gd name="connsiteY3" fmla="*/ 3128747 h 3150544"/>
              <a:gd name="connsiteX4" fmla="*/ 0 w 3082145"/>
              <a:gd name="connsiteY4" fmla="*/ 2549025 h 3150544"/>
              <a:gd name="connsiteX5" fmla="*/ 0 w 3082145"/>
              <a:gd name="connsiteY5" fmla="*/ 1656 h 3150544"/>
              <a:gd name="connsiteX0" fmla="*/ 0 w 2772041"/>
              <a:gd name="connsiteY0" fmla="*/ 1656 h 3150544"/>
              <a:gd name="connsiteX1" fmla="*/ 2769627 w 2772041"/>
              <a:gd name="connsiteY1" fmla="*/ 0 h 3150544"/>
              <a:gd name="connsiteX2" fmla="*/ 2772041 w 2772041"/>
              <a:gd name="connsiteY2" fmla="*/ 3150544 h 3150544"/>
              <a:gd name="connsiteX3" fmla="*/ 579722 w 2772041"/>
              <a:gd name="connsiteY3" fmla="*/ 3128747 h 3150544"/>
              <a:gd name="connsiteX4" fmla="*/ 0 w 2772041"/>
              <a:gd name="connsiteY4" fmla="*/ 2549025 h 3150544"/>
              <a:gd name="connsiteX5" fmla="*/ 0 w 2772041"/>
              <a:gd name="connsiteY5" fmla="*/ 1656 h 3150544"/>
              <a:gd name="connsiteX0" fmla="*/ 0 w 2772041"/>
              <a:gd name="connsiteY0" fmla="*/ 1656 h 3138969"/>
              <a:gd name="connsiteX1" fmla="*/ 2769627 w 2772041"/>
              <a:gd name="connsiteY1" fmla="*/ 0 h 3138969"/>
              <a:gd name="connsiteX2" fmla="*/ 2772041 w 2772041"/>
              <a:gd name="connsiteY2" fmla="*/ 3138969 h 3138969"/>
              <a:gd name="connsiteX3" fmla="*/ 579722 w 2772041"/>
              <a:gd name="connsiteY3" fmla="*/ 3128747 h 3138969"/>
              <a:gd name="connsiteX4" fmla="*/ 0 w 2772041"/>
              <a:gd name="connsiteY4" fmla="*/ 2549025 h 3138969"/>
              <a:gd name="connsiteX5" fmla="*/ 0 w 2772041"/>
              <a:gd name="connsiteY5" fmla="*/ 1656 h 313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72041" h="3138969">
                <a:moveTo>
                  <a:pt x="0" y="1656"/>
                </a:moveTo>
                <a:lnTo>
                  <a:pt x="2769627" y="0"/>
                </a:lnTo>
                <a:cubicBezTo>
                  <a:pt x="2770532" y="2146807"/>
                  <a:pt x="2771136" y="992162"/>
                  <a:pt x="2772041" y="3138969"/>
                </a:cubicBezTo>
                <a:lnTo>
                  <a:pt x="579722" y="3128747"/>
                </a:lnTo>
                <a:cubicBezTo>
                  <a:pt x="259550" y="3128747"/>
                  <a:pt x="0" y="2869197"/>
                  <a:pt x="0" y="2549025"/>
                </a:cubicBezTo>
                <a:lnTo>
                  <a:pt x="0" y="1656"/>
                </a:ln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marR="0" indent="0" algn="l" defTabSz="68561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 sz="1050">
                <a:solidFill>
                  <a:schemeClr val="tx1"/>
                </a:solidFill>
              </a:defRPr>
            </a:lvl1pPr>
          </a:lstStyle>
          <a:p>
            <a:pPr marL="0" marR="0" lvl="0" indent="0" algn="l" defTabSz="68561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JP"/>
              <a:t>Insert Picture/Text Block</a:t>
            </a:r>
          </a:p>
          <a:p>
            <a:endParaRPr lang="en-JP"/>
          </a:p>
        </p:txBody>
      </p:sp>
      <p:sp>
        <p:nvSpPr>
          <p:cNvPr id="23" name="Picture Placeholder 9">
            <a:extLst>
              <a:ext uri="{FF2B5EF4-FFF2-40B4-BE49-F238E27FC236}">
                <a16:creationId xmlns:a16="http://schemas.microsoft.com/office/drawing/2014/main" id="{8D6B3691-FCAC-8A46-AA30-DEB2A719C7B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31029" y="3076287"/>
            <a:ext cx="2079031" cy="2913034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18553"/>
              <a:gd name="connsiteX1" fmla="*/ 8912928 w 8915642"/>
              <a:gd name="connsiteY1" fmla="*/ 176478 h 6618553"/>
              <a:gd name="connsiteX2" fmla="*/ 8915642 w 8915642"/>
              <a:gd name="connsiteY2" fmla="*/ 6616899 h 6618553"/>
              <a:gd name="connsiteX3" fmla="*/ 579722 w 8915642"/>
              <a:gd name="connsiteY3" fmla="*/ 6618553 h 6618553"/>
              <a:gd name="connsiteX4" fmla="*/ 0 w 8915642"/>
              <a:gd name="connsiteY4" fmla="*/ 6038831 h 6618553"/>
              <a:gd name="connsiteX5" fmla="*/ 0 w 8915642"/>
              <a:gd name="connsiteY5" fmla="*/ 1 h 6618553"/>
              <a:gd name="connsiteX0" fmla="*/ 0 w 8915642"/>
              <a:gd name="connsiteY0" fmla="*/ 25404 h 6643956"/>
              <a:gd name="connsiteX1" fmla="*/ 6015348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25404 h 6643956"/>
              <a:gd name="connsiteX0" fmla="*/ 0 w 8915642"/>
              <a:gd name="connsiteY0" fmla="*/ 1653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1653 h 6620205"/>
              <a:gd name="connsiteX0" fmla="*/ 0 w 8915642"/>
              <a:gd name="connsiteY0" fmla="*/ 96656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96656 h 6620205"/>
              <a:gd name="connsiteX0" fmla="*/ 0 w 8915642"/>
              <a:gd name="connsiteY0" fmla="*/ 0 h 6642302"/>
              <a:gd name="connsiteX1" fmla="*/ 6003473 w 8915642"/>
              <a:gd name="connsiteY1" fmla="*/ 22097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0 h 6642302"/>
              <a:gd name="connsiteX1" fmla="*/ 5932221 w 8915642"/>
              <a:gd name="connsiteY1" fmla="*/ 152725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1654 h 6643956"/>
              <a:gd name="connsiteX1" fmla="*/ 6003473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1654 h 6643956"/>
              <a:gd name="connsiteX0" fmla="*/ 0 w 6018062"/>
              <a:gd name="connsiteY0" fmla="*/ 1654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1654 h 6654178"/>
              <a:gd name="connsiteX0" fmla="*/ 0 w 6018062"/>
              <a:gd name="connsiteY0" fmla="*/ 203535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203535 h 6654178"/>
              <a:gd name="connsiteX0" fmla="*/ 0 w 6018062"/>
              <a:gd name="connsiteY0" fmla="*/ 1655 h 6452298"/>
              <a:gd name="connsiteX1" fmla="*/ 4055920 w 6018062"/>
              <a:gd name="connsiteY1" fmla="*/ 0 h 6452298"/>
              <a:gd name="connsiteX2" fmla="*/ 6018062 w 6018062"/>
              <a:gd name="connsiteY2" fmla="*/ 6452298 h 6452298"/>
              <a:gd name="connsiteX3" fmla="*/ 579722 w 6018062"/>
              <a:gd name="connsiteY3" fmla="*/ 6442076 h 6452298"/>
              <a:gd name="connsiteX4" fmla="*/ 0 w 6018062"/>
              <a:gd name="connsiteY4" fmla="*/ 5862354 h 6452298"/>
              <a:gd name="connsiteX5" fmla="*/ 0 w 6018062"/>
              <a:gd name="connsiteY5" fmla="*/ 1655 h 6452298"/>
              <a:gd name="connsiteX0" fmla="*/ 0 w 4055973"/>
              <a:gd name="connsiteY0" fmla="*/ 1655 h 6452298"/>
              <a:gd name="connsiteX1" fmla="*/ 4055920 w 4055973"/>
              <a:gd name="connsiteY1" fmla="*/ 0 h 6452298"/>
              <a:gd name="connsiteX2" fmla="*/ 4046758 w 4055973"/>
              <a:gd name="connsiteY2" fmla="*/ 6452298 h 6452298"/>
              <a:gd name="connsiteX3" fmla="*/ 579722 w 4055973"/>
              <a:gd name="connsiteY3" fmla="*/ 6442076 h 6452298"/>
              <a:gd name="connsiteX4" fmla="*/ 0 w 4055973"/>
              <a:gd name="connsiteY4" fmla="*/ 5862354 h 6452298"/>
              <a:gd name="connsiteX5" fmla="*/ 0 w 4055973"/>
              <a:gd name="connsiteY5" fmla="*/ 1655 h 6452298"/>
              <a:gd name="connsiteX0" fmla="*/ 0 w 4055973"/>
              <a:gd name="connsiteY0" fmla="*/ 0 h 6652523"/>
              <a:gd name="connsiteX1" fmla="*/ 4055920 w 4055973"/>
              <a:gd name="connsiteY1" fmla="*/ 200225 h 6652523"/>
              <a:gd name="connsiteX2" fmla="*/ 4046758 w 4055973"/>
              <a:gd name="connsiteY2" fmla="*/ 6652523 h 6652523"/>
              <a:gd name="connsiteX3" fmla="*/ 579722 w 4055973"/>
              <a:gd name="connsiteY3" fmla="*/ 6642301 h 6652523"/>
              <a:gd name="connsiteX4" fmla="*/ 0 w 4055973"/>
              <a:gd name="connsiteY4" fmla="*/ 6062579 h 6652523"/>
              <a:gd name="connsiteX5" fmla="*/ 0 w 4055973"/>
              <a:gd name="connsiteY5" fmla="*/ 0 h 6652523"/>
              <a:gd name="connsiteX0" fmla="*/ 0 w 4046758"/>
              <a:gd name="connsiteY0" fmla="*/ 0 h 6652523"/>
              <a:gd name="connsiteX1" fmla="*/ 4044045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1655 h 6654178"/>
              <a:gd name="connsiteX1" fmla="*/ 3082144 w 4046758"/>
              <a:gd name="connsiteY1" fmla="*/ 0 h 6654178"/>
              <a:gd name="connsiteX2" fmla="*/ 4046758 w 4046758"/>
              <a:gd name="connsiteY2" fmla="*/ 6654178 h 6654178"/>
              <a:gd name="connsiteX3" fmla="*/ 579722 w 4046758"/>
              <a:gd name="connsiteY3" fmla="*/ 6643956 h 6654178"/>
              <a:gd name="connsiteX4" fmla="*/ 0 w 4046758"/>
              <a:gd name="connsiteY4" fmla="*/ 6064234 h 6654178"/>
              <a:gd name="connsiteX5" fmla="*/ 0 w 4046758"/>
              <a:gd name="connsiteY5" fmla="*/ 1655 h 6654178"/>
              <a:gd name="connsiteX0" fmla="*/ 0 w 4046758"/>
              <a:gd name="connsiteY0" fmla="*/ 0 h 6652523"/>
              <a:gd name="connsiteX1" fmla="*/ 2975266 w 4046758"/>
              <a:gd name="connsiteY1" fmla="*/ 93348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70268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82144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3082197"/>
              <a:gd name="connsiteY0" fmla="*/ 0 h 6652523"/>
              <a:gd name="connsiteX1" fmla="*/ 3082144 w 3082197"/>
              <a:gd name="connsiteY1" fmla="*/ 10220 h 6652523"/>
              <a:gd name="connsiteX2" fmla="*/ 3072982 w 3082197"/>
              <a:gd name="connsiteY2" fmla="*/ 6652523 h 6652523"/>
              <a:gd name="connsiteX3" fmla="*/ 579722 w 3082197"/>
              <a:gd name="connsiteY3" fmla="*/ 6642301 h 6652523"/>
              <a:gd name="connsiteX4" fmla="*/ 0 w 3082197"/>
              <a:gd name="connsiteY4" fmla="*/ 6062579 h 6652523"/>
              <a:gd name="connsiteX5" fmla="*/ 0 w 3082197"/>
              <a:gd name="connsiteY5" fmla="*/ 0 h 6652523"/>
              <a:gd name="connsiteX0" fmla="*/ 0 w 3072982"/>
              <a:gd name="connsiteY0" fmla="*/ 0 h 6652523"/>
              <a:gd name="connsiteX1" fmla="*/ 3010892 w 3072982"/>
              <a:gd name="connsiteY1" fmla="*/ 164599 h 6652523"/>
              <a:gd name="connsiteX2" fmla="*/ 3072982 w 3072982"/>
              <a:gd name="connsiteY2" fmla="*/ 6652523 h 6652523"/>
              <a:gd name="connsiteX3" fmla="*/ 579722 w 3072982"/>
              <a:gd name="connsiteY3" fmla="*/ 6642301 h 6652523"/>
              <a:gd name="connsiteX4" fmla="*/ 0 w 3072982"/>
              <a:gd name="connsiteY4" fmla="*/ 6062579 h 6652523"/>
              <a:gd name="connsiteX5" fmla="*/ 0 w 3072982"/>
              <a:gd name="connsiteY5" fmla="*/ 0 h 6652523"/>
              <a:gd name="connsiteX0" fmla="*/ 0 w 3082197"/>
              <a:gd name="connsiteY0" fmla="*/ 1656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656 h 6654179"/>
              <a:gd name="connsiteX0" fmla="*/ 0 w 3082197"/>
              <a:gd name="connsiteY0" fmla="*/ 1316107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316107 h 6654179"/>
              <a:gd name="connsiteX0" fmla="*/ 0 w 3082197"/>
              <a:gd name="connsiteY0" fmla="*/ 1657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1657 h 5339729"/>
              <a:gd name="connsiteX0" fmla="*/ 0 w 3082197"/>
              <a:gd name="connsiteY0" fmla="*/ 2202416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2202416 h 5339729"/>
              <a:gd name="connsiteX0" fmla="*/ 0 w 3082197"/>
              <a:gd name="connsiteY0" fmla="*/ 1656 h 3138969"/>
              <a:gd name="connsiteX1" fmla="*/ 3082144 w 3082197"/>
              <a:gd name="connsiteY1" fmla="*/ 0 h 3138969"/>
              <a:gd name="connsiteX2" fmla="*/ 3072982 w 3082197"/>
              <a:gd name="connsiteY2" fmla="*/ 3138969 h 3138969"/>
              <a:gd name="connsiteX3" fmla="*/ 579722 w 3082197"/>
              <a:gd name="connsiteY3" fmla="*/ 3128747 h 3138969"/>
              <a:gd name="connsiteX4" fmla="*/ 0 w 3082197"/>
              <a:gd name="connsiteY4" fmla="*/ 2549025 h 3138969"/>
              <a:gd name="connsiteX5" fmla="*/ 0 w 3082197"/>
              <a:gd name="connsiteY5" fmla="*/ 1656 h 3138969"/>
              <a:gd name="connsiteX0" fmla="*/ 0 w 3082145"/>
              <a:gd name="connsiteY0" fmla="*/ 1656 h 3150544"/>
              <a:gd name="connsiteX1" fmla="*/ 3082144 w 3082145"/>
              <a:gd name="connsiteY1" fmla="*/ 0 h 3150544"/>
              <a:gd name="connsiteX2" fmla="*/ 2772041 w 3082145"/>
              <a:gd name="connsiteY2" fmla="*/ 3150544 h 3150544"/>
              <a:gd name="connsiteX3" fmla="*/ 579722 w 3082145"/>
              <a:gd name="connsiteY3" fmla="*/ 3128747 h 3150544"/>
              <a:gd name="connsiteX4" fmla="*/ 0 w 3082145"/>
              <a:gd name="connsiteY4" fmla="*/ 2549025 h 3150544"/>
              <a:gd name="connsiteX5" fmla="*/ 0 w 3082145"/>
              <a:gd name="connsiteY5" fmla="*/ 1656 h 3150544"/>
              <a:gd name="connsiteX0" fmla="*/ 0 w 2772041"/>
              <a:gd name="connsiteY0" fmla="*/ 1656 h 3150544"/>
              <a:gd name="connsiteX1" fmla="*/ 2769627 w 2772041"/>
              <a:gd name="connsiteY1" fmla="*/ 0 h 3150544"/>
              <a:gd name="connsiteX2" fmla="*/ 2772041 w 2772041"/>
              <a:gd name="connsiteY2" fmla="*/ 3150544 h 3150544"/>
              <a:gd name="connsiteX3" fmla="*/ 579722 w 2772041"/>
              <a:gd name="connsiteY3" fmla="*/ 3128747 h 3150544"/>
              <a:gd name="connsiteX4" fmla="*/ 0 w 2772041"/>
              <a:gd name="connsiteY4" fmla="*/ 2549025 h 3150544"/>
              <a:gd name="connsiteX5" fmla="*/ 0 w 2772041"/>
              <a:gd name="connsiteY5" fmla="*/ 1656 h 3150544"/>
              <a:gd name="connsiteX0" fmla="*/ 0 w 2772041"/>
              <a:gd name="connsiteY0" fmla="*/ 1656 h 3138969"/>
              <a:gd name="connsiteX1" fmla="*/ 2769627 w 2772041"/>
              <a:gd name="connsiteY1" fmla="*/ 0 h 3138969"/>
              <a:gd name="connsiteX2" fmla="*/ 2772041 w 2772041"/>
              <a:gd name="connsiteY2" fmla="*/ 3138969 h 3138969"/>
              <a:gd name="connsiteX3" fmla="*/ 579722 w 2772041"/>
              <a:gd name="connsiteY3" fmla="*/ 3128747 h 3138969"/>
              <a:gd name="connsiteX4" fmla="*/ 0 w 2772041"/>
              <a:gd name="connsiteY4" fmla="*/ 2549025 h 3138969"/>
              <a:gd name="connsiteX5" fmla="*/ 0 w 2772041"/>
              <a:gd name="connsiteY5" fmla="*/ 1656 h 313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72041" h="3138969">
                <a:moveTo>
                  <a:pt x="0" y="1656"/>
                </a:moveTo>
                <a:lnTo>
                  <a:pt x="2769627" y="0"/>
                </a:lnTo>
                <a:cubicBezTo>
                  <a:pt x="2770532" y="2146807"/>
                  <a:pt x="2771136" y="992162"/>
                  <a:pt x="2772041" y="3138969"/>
                </a:cubicBezTo>
                <a:lnTo>
                  <a:pt x="579722" y="3128747"/>
                </a:lnTo>
                <a:cubicBezTo>
                  <a:pt x="259550" y="3128747"/>
                  <a:pt x="0" y="2869197"/>
                  <a:pt x="0" y="2549025"/>
                </a:cubicBezTo>
                <a:lnTo>
                  <a:pt x="0" y="1656"/>
                </a:ln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JP"/>
              <a:t>Insert Picture/Text Block</a:t>
            </a:r>
          </a:p>
        </p:txBody>
      </p:sp>
      <p:sp>
        <p:nvSpPr>
          <p:cNvPr id="24" name="Picture Placeholder 9">
            <a:extLst>
              <a:ext uri="{FF2B5EF4-FFF2-40B4-BE49-F238E27FC236}">
                <a16:creationId xmlns:a16="http://schemas.microsoft.com/office/drawing/2014/main" id="{AA8F528A-C9DE-0B46-881A-43E0F9B6F67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2433371" y="3076287"/>
            <a:ext cx="2079031" cy="2913034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18553"/>
              <a:gd name="connsiteX1" fmla="*/ 8912928 w 8915642"/>
              <a:gd name="connsiteY1" fmla="*/ 176478 h 6618553"/>
              <a:gd name="connsiteX2" fmla="*/ 8915642 w 8915642"/>
              <a:gd name="connsiteY2" fmla="*/ 6616899 h 6618553"/>
              <a:gd name="connsiteX3" fmla="*/ 579722 w 8915642"/>
              <a:gd name="connsiteY3" fmla="*/ 6618553 h 6618553"/>
              <a:gd name="connsiteX4" fmla="*/ 0 w 8915642"/>
              <a:gd name="connsiteY4" fmla="*/ 6038831 h 6618553"/>
              <a:gd name="connsiteX5" fmla="*/ 0 w 8915642"/>
              <a:gd name="connsiteY5" fmla="*/ 1 h 6618553"/>
              <a:gd name="connsiteX0" fmla="*/ 0 w 8915642"/>
              <a:gd name="connsiteY0" fmla="*/ 25404 h 6643956"/>
              <a:gd name="connsiteX1" fmla="*/ 6015348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25404 h 6643956"/>
              <a:gd name="connsiteX0" fmla="*/ 0 w 8915642"/>
              <a:gd name="connsiteY0" fmla="*/ 1653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1653 h 6620205"/>
              <a:gd name="connsiteX0" fmla="*/ 0 w 8915642"/>
              <a:gd name="connsiteY0" fmla="*/ 96656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96656 h 6620205"/>
              <a:gd name="connsiteX0" fmla="*/ 0 w 8915642"/>
              <a:gd name="connsiteY0" fmla="*/ 0 h 6642302"/>
              <a:gd name="connsiteX1" fmla="*/ 6003473 w 8915642"/>
              <a:gd name="connsiteY1" fmla="*/ 22097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0 h 6642302"/>
              <a:gd name="connsiteX1" fmla="*/ 5932221 w 8915642"/>
              <a:gd name="connsiteY1" fmla="*/ 152725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1654 h 6643956"/>
              <a:gd name="connsiteX1" fmla="*/ 6003473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1654 h 6643956"/>
              <a:gd name="connsiteX0" fmla="*/ 0 w 6018062"/>
              <a:gd name="connsiteY0" fmla="*/ 1654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1654 h 6654178"/>
              <a:gd name="connsiteX0" fmla="*/ 0 w 6018062"/>
              <a:gd name="connsiteY0" fmla="*/ 203535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203535 h 6654178"/>
              <a:gd name="connsiteX0" fmla="*/ 0 w 6018062"/>
              <a:gd name="connsiteY0" fmla="*/ 1655 h 6452298"/>
              <a:gd name="connsiteX1" fmla="*/ 4055920 w 6018062"/>
              <a:gd name="connsiteY1" fmla="*/ 0 h 6452298"/>
              <a:gd name="connsiteX2" fmla="*/ 6018062 w 6018062"/>
              <a:gd name="connsiteY2" fmla="*/ 6452298 h 6452298"/>
              <a:gd name="connsiteX3" fmla="*/ 579722 w 6018062"/>
              <a:gd name="connsiteY3" fmla="*/ 6442076 h 6452298"/>
              <a:gd name="connsiteX4" fmla="*/ 0 w 6018062"/>
              <a:gd name="connsiteY4" fmla="*/ 5862354 h 6452298"/>
              <a:gd name="connsiteX5" fmla="*/ 0 w 6018062"/>
              <a:gd name="connsiteY5" fmla="*/ 1655 h 6452298"/>
              <a:gd name="connsiteX0" fmla="*/ 0 w 4055973"/>
              <a:gd name="connsiteY0" fmla="*/ 1655 h 6452298"/>
              <a:gd name="connsiteX1" fmla="*/ 4055920 w 4055973"/>
              <a:gd name="connsiteY1" fmla="*/ 0 h 6452298"/>
              <a:gd name="connsiteX2" fmla="*/ 4046758 w 4055973"/>
              <a:gd name="connsiteY2" fmla="*/ 6452298 h 6452298"/>
              <a:gd name="connsiteX3" fmla="*/ 579722 w 4055973"/>
              <a:gd name="connsiteY3" fmla="*/ 6442076 h 6452298"/>
              <a:gd name="connsiteX4" fmla="*/ 0 w 4055973"/>
              <a:gd name="connsiteY4" fmla="*/ 5862354 h 6452298"/>
              <a:gd name="connsiteX5" fmla="*/ 0 w 4055973"/>
              <a:gd name="connsiteY5" fmla="*/ 1655 h 6452298"/>
              <a:gd name="connsiteX0" fmla="*/ 0 w 4055973"/>
              <a:gd name="connsiteY0" fmla="*/ 0 h 6652523"/>
              <a:gd name="connsiteX1" fmla="*/ 4055920 w 4055973"/>
              <a:gd name="connsiteY1" fmla="*/ 200225 h 6652523"/>
              <a:gd name="connsiteX2" fmla="*/ 4046758 w 4055973"/>
              <a:gd name="connsiteY2" fmla="*/ 6652523 h 6652523"/>
              <a:gd name="connsiteX3" fmla="*/ 579722 w 4055973"/>
              <a:gd name="connsiteY3" fmla="*/ 6642301 h 6652523"/>
              <a:gd name="connsiteX4" fmla="*/ 0 w 4055973"/>
              <a:gd name="connsiteY4" fmla="*/ 6062579 h 6652523"/>
              <a:gd name="connsiteX5" fmla="*/ 0 w 4055973"/>
              <a:gd name="connsiteY5" fmla="*/ 0 h 6652523"/>
              <a:gd name="connsiteX0" fmla="*/ 0 w 4046758"/>
              <a:gd name="connsiteY0" fmla="*/ 0 h 6652523"/>
              <a:gd name="connsiteX1" fmla="*/ 4044045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1655 h 6654178"/>
              <a:gd name="connsiteX1" fmla="*/ 3082144 w 4046758"/>
              <a:gd name="connsiteY1" fmla="*/ 0 h 6654178"/>
              <a:gd name="connsiteX2" fmla="*/ 4046758 w 4046758"/>
              <a:gd name="connsiteY2" fmla="*/ 6654178 h 6654178"/>
              <a:gd name="connsiteX3" fmla="*/ 579722 w 4046758"/>
              <a:gd name="connsiteY3" fmla="*/ 6643956 h 6654178"/>
              <a:gd name="connsiteX4" fmla="*/ 0 w 4046758"/>
              <a:gd name="connsiteY4" fmla="*/ 6064234 h 6654178"/>
              <a:gd name="connsiteX5" fmla="*/ 0 w 4046758"/>
              <a:gd name="connsiteY5" fmla="*/ 1655 h 6654178"/>
              <a:gd name="connsiteX0" fmla="*/ 0 w 4046758"/>
              <a:gd name="connsiteY0" fmla="*/ 0 h 6652523"/>
              <a:gd name="connsiteX1" fmla="*/ 2975266 w 4046758"/>
              <a:gd name="connsiteY1" fmla="*/ 93348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70268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82144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3082197"/>
              <a:gd name="connsiteY0" fmla="*/ 0 h 6652523"/>
              <a:gd name="connsiteX1" fmla="*/ 3082144 w 3082197"/>
              <a:gd name="connsiteY1" fmla="*/ 10220 h 6652523"/>
              <a:gd name="connsiteX2" fmla="*/ 3072982 w 3082197"/>
              <a:gd name="connsiteY2" fmla="*/ 6652523 h 6652523"/>
              <a:gd name="connsiteX3" fmla="*/ 579722 w 3082197"/>
              <a:gd name="connsiteY3" fmla="*/ 6642301 h 6652523"/>
              <a:gd name="connsiteX4" fmla="*/ 0 w 3082197"/>
              <a:gd name="connsiteY4" fmla="*/ 6062579 h 6652523"/>
              <a:gd name="connsiteX5" fmla="*/ 0 w 3082197"/>
              <a:gd name="connsiteY5" fmla="*/ 0 h 6652523"/>
              <a:gd name="connsiteX0" fmla="*/ 0 w 3072982"/>
              <a:gd name="connsiteY0" fmla="*/ 0 h 6652523"/>
              <a:gd name="connsiteX1" fmla="*/ 3010892 w 3072982"/>
              <a:gd name="connsiteY1" fmla="*/ 164599 h 6652523"/>
              <a:gd name="connsiteX2" fmla="*/ 3072982 w 3072982"/>
              <a:gd name="connsiteY2" fmla="*/ 6652523 h 6652523"/>
              <a:gd name="connsiteX3" fmla="*/ 579722 w 3072982"/>
              <a:gd name="connsiteY3" fmla="*/ 6642301 h 6652523"/>
              <a:gd name="connsiteX4" fmla="*/ 0 w 3072982"/>
              <a:gd name="connsiteY4" fmla="*/ 6062579 h 6652523"/>
              <a:gd name="connsiteX5" fmla="*/ 0 w 3072982"/>
              <a:gd name="connsiteY5" fmla="*/ 0 h 6652523"/>
              <a:gd name="connsiteX0" fmla="*/ 0 w 3082197"/>
              <a:gd name="connsiteY0" fmla="*/ 1656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656 h 6654179"/>
              <a:gd name="connsiteX0" fmla="*/ 0 w 3082197"/>
              <a:gd name="connsiteY0" fmla="*/ 1316107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316107 h 6654179"/>
              <a:gd name="connsiteX0" fmla="*/ 0 w 3082197"/>
              <a:gd name="connsiteY0" fmla="*/ 1657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1657 h 5339729"/>
              <a:gd name="connsiteX0" fmla="*/ 0 w 3082197"/>
              <a:gd name="connsiteY0" fmla="*/ 2202416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2202416 h 5339729"/>
              <a:gd name="connsiteX0" fmla="*/ 0 w 3082197"/>
              <a:gd name="connsiteY0" fmla="*/ 1656 h 3138969"/>
              <a:gd name="connsiteX1" fmla="*/ 3082144 w 3082197"/>
              <a:gd name="connsiteY1" fmla="*/ 0 h 3138969"/>
              <a:gd name="connsiteX2" fmla="*/ 3072982 w 3082197"/>
              <a:gd name="connsiteY2" fmla="*/ 3138969 h 3138969"/>
              <a:gd name="connsiteX3" fmla="*/ 579722 w 3082197"/>
              <a:gd name="connsiteY3" fmla="*/ 3128747 h 3138969"/>
              <a:gd name="connsiteX4" fmla="*/ 0 w 3082197"/>
              <a:gd name="connsiteY4" fmla="*/ 2549025 h 3138969"/>
              <a:gd name="connsiteX5" fmla="*/ 0 w 3082197"/>
              <a:gd name="connsiteY5" fmla="*/ 1656 h 3138969"/>
              <a:gd name="connsiteX0" fmla="*/ 0 w 3082145"/>
              <a:gd name="connsiteY0" fmla="*/ 1656 h 3150544"/>
              <a:gd name="connsiteX1" fmla="*/ 3082144 w 3082145"/>
              <a:gd name="connsiteY1" fmla="*/ 0 h 3150544"/>
              <a:gd name="connsiteX2" fmla="*/ 2772041 w 3082145"/>
              <a:gd name="connsiteY2" fmla="*/ 3150544 h 3150544"/>
              <a:gd name="connsiteX3" fmla="*/ 579722 w 3082145"/>
              <a:gd name="connsiteY3" fmla="*/ 3128747 h 3150544"/>
              <a:gd name="connsiteX4" fmla="*/ 0 w 3082145"/>
              <a:gd name="connsiteY4" fmla="*/ 2549025 h 3150544"/>
              <a:gd name="connsiteX5" fmla="*/ 0 w 3082145"/>
              <a:gd name="connsiteY5" fmla="*/ 1656 h 3150544"/>
              <a:gd name="connsiteX0" fmla="*/ 0 w 2772041"/>
              <a:gd name="connsiteY0" fmla="*/ 1656 h 3150544"/>
              <a:gd name="connsiteX1" fmla="*/ 2769627 w 2772041"/>
              <a:gd name="connsiteY1" fmla="*/ 0 h 3150544"/>
              <a:gd name="connsiteX2" fmla="*/ 2772041 w 2772041"/>
              <a:gd name="connsiteY2" fmla="*/ 3150544 h 3150544"/>
              <a:gd name="connsiteX3" fmla="*/ 579722 w 2772041"/>
              <a:gd name="connsiteY3" fmla="*/ 3128747 h 3150544"/>
              <a:gd name="connsiteX4" fmla="*/ 0 w 2772041"/>
              <a:gd name="connsiteY4" fmla="*/ 2549025 h 3150544"/>
              <a:gd name="connsiteX5" fmla="*/ 0 w 2772041"/>
              <a:gd name="connsiteY5" fmla="*/ 1656 h 3150544"/>
              <a:gd name="connsiteX0" fmla="*/ 0 w 2772041"/>
              <a:gd name="connsiteY0" fmla="*/ 1656 h 3138969"/>
              <a:gd name="connsiteX1" fmla="*/ 2769627 w 2772041"/>
              <a:gd name="connsiteY1" fmla="*/ 0 h 3138969"/>
              <a:gd name="connsiteX2" fmla="*/ 2772041 w 2772041"/>
              <a:gd name="connsiteY2" fmla="*/ 3138969 h 3138969"/>
              <a:gd name="connsiteX3" fmla="*/ 579722 w 2772041"/>
              <a:gd name="connsiteY3" fmla="*/ 3128747 h 3138969"/>
              <a:gd name="connsiteX4" fmla="*/ 0 w 2772041"/>
              <a:gd name="connsiteY4" fmla="*/ 2549025 h 3138969"/>
              <a:gd name="connsiteX5" fmla="*/ 0 w 2772041"/>
              <a:gd name="connsiteY5" fmla="*/ 1656 h 313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72041" h="3138969">
                <a:moveTo>
                  <a:pt x="0" y="1656"/>
                </a:moveTo>
                <a:lnTo>
                  <a:pt x="2769627" y="0"/>
                </a:lnTo>
                <a:cubicBezTo>
                  <a:pt x="2770532" y="2146807"/>
                  <a:pt x="2771136" y="992162"/>
                  <a:pt x="2772041" y="3138969"/>
                </a:cubicBezTo>
                <a:lnTo>
                  <a:pt x="579722" y="3128747"/>
                </a:lnTo>
                <a:cubicBezTo>
                  <a:pt x="259550" y="3128747"/>
                  <a:pt x="0" y="2869197"/>
                  <a:pt x="0" y="2549025"/>
                </a:cubicBezTo>
                <a:lnTo>
                  <a:pt x="0" y="1656"/>
                </a:ln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JP"/>
              <a:t>Insert Picture/Text Block</a:t>
            </a:r>
          </a:p>
        </p:txBody>
      </p:sp>
      <p:sp>
        <p:nvSpPr>
          <p:cNvPr id="25" name="Picture Placeholder 9">
            <a:extLst>
              <a:ext uri="{FF2B5EF4-FFF2-40B4-BE49-F238E27FC236}">
                <a16:creationId xmlns:a16="http://schemas.microsoft.com/office/drawing/2014/main" id="{E01CF285-75D7-154A-ACF2-9393FB0B38D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633212" y="3076287"/>
            <a:ext cx="2079031" cy="2913034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18553"/>
              <a:gd name="connsiteX1" fmla="*/ 8912928 w 8915642"/>
              <a:gd name="connsiteY1" fmla="*/ 176478 h 6618553"/>
              <a:gd name="connsiteX2" fmla="*/ 8915642 w 8915642"/>
              <a:gd name="connsiteY2" fmla="*/ 6616899 h 6618553"/>
              <a:gd name="connsiteX3" fmla="*/ 579722 w 8915642"/>
              <a:gd name="connsiteY3" fmla="*/ 6618553 h 6618553"/>
              <a:gd name="connsiteX4" fmla="*/ 0 w 8915642"/>
              <a:gd name="connsiteY4" fmla="*/ 6038831 h 6618553"/>
              <a:gd name="connsiteX5" fmla="*/ 0 w 8915642"/>
              <a:gd name="connsiteY5" fmla="*/ 1 h 6618553"/>
              <a:gd name="connsiteX0" fmla="*/ 0 w 8915642"/>
              <a:gd name="connsiteY0" fmla="*/ 25404 h 6643956"/>
              <a:gd name="connsiteX1" fmla="*/ 6015348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25404 h 6643956"/>
              <a:gd name="connsiteX0" fmla="*/ 0 w 8915642"/>
              <a:gd name="connsiteY0" fmla="*/ 1653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1653 h 6620205"/>
              <a:gd name="connsiteX0" fmla="*/ 0 w 8915642"/>
              <a:gd name="connsiteY0" fmla="*/ 96656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96656 h 6620205"/>
              <a:gd name="connsiteX0" fmla="*/ 0 w 8915642"/>
              <a:gd name="connsiteY0" fmla="*/ 0 h 6642302"/>
              <a:gd name="connsiteX1" fmla="*/ 6003473 w 8915642"/>
              <a:gd name="connsiteY1" fmla="*/ 22097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0 h 6642302"/>
              <a:gd name="connsiteX1" fmla="*/ 5932221 w 8915642"/>
              <a:gd name="connsiteY1" fmla="*/ 152725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1654 h 6643956"/>
              <a:gd name="connsiteX1" fmla="*/ 6003473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1654 h 6643956"/>
              <a:gd name="connsiteX0" fmla="*/ 0 w 6018062"/>
              <a:gd name="connsiteY0" fmla="*/ 1654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1654 h 6654178"/>
              <a:gd name="connsiteX0" fmla="*/ 0 w 6018062"/>
              <a:gd name="connsiteY0" fmla="*/ 203535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203535 h 6654178"/>
              <a:gd name="connsiteX0" fmla="*/ 0 w 6018062"/>
              <a:gd name="connsiteY0" fmla="*/ 1655 h 6452298"/>
              <a:gd name="connsiteX1" fmla="*/ 4055920 w 6018062"/>
              <a:gd name="connsiteY1" fmla="*/ 0 h 6452298"/>
              <a:gd name="connsiteX2" fmla="*/ 6018062 w 6018062"/>
              <a:gd name="connsiteY2" fmla="*/ 6452298 h 6452298"/>
              <a:gd name="connsiteX3" fmla="*/ 579722 w 6018062"/>
              <a:gd name="connsiteY3" fmla="*/ 6442076 h 6452298"/>
              <a:gd name="connsiteX4" fmla="*/ 0 w 6018062"/>
              <a:gd name="connsiteY4" fmla="*/ 5862354 h 6452298"/>
              <a:gd name="connsiteX5" fmla="*/ 0 w 6018062"/>
              <a:gd name="connsiteY5" fmla="*/ 1655 h 6452298"/>
              <a:gd name="connsiteX0" fmla="*/ 0 w 4055973"/>
              <a:gd name="connsiteY0" fmla="*/ 1655 h 6452298"/>
              <a:gd name="connsiteX1" fmla="*/ 4055920 w 4055973"/>
              <a:gd name="connsiteY1" fmla="*/ 0 h 6452298"/>
              <a:gd name="connsiteX2" fmla="*/ 4046758 w 4055973"/>
              <a:gd name="connsiteY2" fmla="*/ 6452298 h 6452298"/>
              <a:gd name="connsiteX3" fmla="*/ 579722 w 4055973"/>
              <a:gd name="connsiteY3" fmla="*/ 6442076 h 6452298"/>
              <a:gd name="connsiteX4" fmla="*/ 0 w 4055973"/>
              <a:gd name="connsiteY4" fmla="*/ 5862354 h 6452298"/>
              <a:gd name="connsiteX5" fmla="*/ 0 w 4055973"/>
              <a:gd name="connsiteY5" fmla="*/ 1655 h 6452298"/>
              <a:gd name="connsiteX0" fmla="*/ 0 w 4055973"/>
              <a:gd name="connsiteY0" fmla="*/ 0 h 6652523"/>
              <a:gd name="connsiteX1" fmla="*/ 4055920 w 4055973"/>
              <a:gd name="connsiteY1" fmla="*/ 200225 h 6652523"/>
              <a:gd name="connsiteX2" fmla="*/ 4046758 w 4055973"/>
              <a:gd name="connsiteY2" fmla="*/ 6652523 h 6652523"/>
              <a:gd name="connsiteX3" fmla="*/ 579722 w 4055973"/>
              <a:gd name="connsiteY3" fmla="*/ 6642301 h 6652523"/>
              <a:gd name="connsiteX4" fmla="*/ 0 w 4055973"/>
              <a:gd name="connsiteY4" fmla="*/ 6062579 h 6652523"/>
              <a:gd name="connsiteX5" fmla="*/ 0 w 4055973"/>
              <a:gd name="connsiteY5" fmla="*/ 0 h 6652523"/>
              <a:gd name="connsiteX0" fmla="*/ 0 w 4046758"/>
              <a:gd name="connsiteY0" fmla="*/ 0 h 6652523"/>
              <a:gd name="connsiteX1" fmla="*/ 4044045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1655 h 6654178"/>
              <a:gd name="connsiteX1" fmla="*/ 3082144 w 4046758"/>
              <a:gd name="connsiteY1" fmla="*/ 0 h 6654178"/>
              <a:gd name="connsiteX2" fmla="*/ 4046758 w 4046758"/>
              <a:gd name="connsiteY2" fmla="*/ 6654178 h 6654178"/>
              <a:gd name="connsiteX3" fmla="*/ 579722 w 4046758"/>
              <a:gd name="connsiteY3" fmla="*/ 6643956 h 6654178"/>
              <a:gd name="connsiteX4" fmla="*/ 0 w 4046758"/>
              <a:gd name="connsiteY4" fmla="*/ 6064234 h 6654178"/>
              <a:gd name="connsiteX5" fmla="*/ 0 w 4046758"/>
              <a:gd name="connsiteY5" fmla="*/ 1655 h 6654178"/>
              <a:gd name="connsiteX0" fmla="*/ 0 w 4046758"/>
              <a:gd name="connsiteY0" fmla="*/ 0 h 6652523"/>
              <a:gd name="connsiteX1" fmla="*/ 2975266 w 4046758"/>
              <a:gd name="connsiteY1" fmla="*/ 93348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70268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82144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3082197"/>
              <a:gd name="connsiteY0" fmla="*/ 0 h 6652523"/>
              <a:gd name="connsiteX1" fmla="*/ 3082144 w 3082197"/>
              <a:gd name="connsiteY1" fmla="*/ 10220 h 6652523"/>
              <a:gd name="connsiteX2" fmla="*/ 3072982 w 3082197"/>
              <a:gd name="connsiteY2" fmla="*/ 6652523 h 6652523"/>
              <a:gd name="connsiteX3" fmla="*/ 579722 w 3082197"/>
              <a:gd name="connsiteY3" fmla="*/ 6642301 h 6652523"/>
              <a:gd name="connsiteX4" fmla="*/ 0 w 3082197"/>
              <a:gd name="connsiteY4" fmla="*/ 6062579 h 6652523"/>
              <a:gd name="connsiteX5" fmla="*/ 0 w 3082197"/>
              <a:gd name="connsiteY5" fmla="*/ 0 h 6652523"/>
              <a:gd name="connsiteX0" fmla="*/ 0 w 3072982"/>
              <a:gd name="connsiteY0" fmla="*/ 0 h 6652523"/>
              <a:gd name="connsiteX1" fmla="*/ 3010892 w 3072982"/>
              <a:gd name="connsiteY1" fmla="*/ 164599 h 6652523"/>
              <a:gd name="connsiteX2" fmla="*/ 3072982 w 3072982"/>
              <a:gd name="connsiteY2" fmla="*/ 6652523 h 6652523"/>
              <a:gd name="connsiteX3" fmla="*/ 579722 w 3072982"/>
              <a:gd name="connsiteY3" fmla="*/ 6642301 h 6652523"/>
              <a:gd name="connsiteX4" fmla="*/ 0 w 3072982"/>
              <a:gd name="connsiteY4" fmla="*/ 6062579 h 6652523"/>
              <a:gd name="connsiteX5" fmla="*/ 0 w 3072982"/>
              <a:gd name="connsiteY5" fmla="*/ 0 h 6652523"/>
              <a:gd name="connsiteX0" fmla="*/ 0 w 3082197"/>
              <a:gd name="connsiteY0" fmla="*/ 1656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656 h 6654179"/>
              <a:gd name="connsiteX0" fmla="*/ 0 w 3082197"/>
              <a:gd name="connsiteY0" fmla="*/ 1316107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316107 h 6654179"/>
              <a:gd name="connsiteX0" fmla="*/ 0 w 3082197"/>
              <a:gd name="connsiteY0" fmla="*/ 1657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1657 h 5339729"/>
              <a:gd name="connsiteX0" fmla="*/ 0 w 3082197"/>
              <a:gd name="connsiteY0" fmla="*/ 2202416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2202416 h 5339729"/>
              <a:gd name="connsiteX0" fmla="*/ 0 w 3082197"/>
              <a:gd name="connsiteY0" fmla="*/ 1656 h 3138969"/>
              <a:gd name="connsiteX1" fmla="*/ 3082144 w 3082197"/>
              <a:gd name="connsiteY1" fmla="*/ 0 h 3138969"/>
              <a:gd name="connsiteX2" fmla="*/ 3072982 w 3082197"/>
              <a:gd name="connsiteY2" fmla="*/ 3138969 h 3138969"/>
              <a:gd name="connsiteX3" fmla="*/ 579722 w 3082197"/>
              <a:gd name="connsiteY3" fmla="*/ 3128747 h 3138969"/>
              <a:gd name="connsiteX4" fmla="*/ 0 w 3082197"/>
              <a:gd name="connsiteY4" fmla="*/ 2549025 h 3138969"/>
              <a:gd name="connsiteX5" fmla="*/ 0 w 3082197"/>
              <a:gd name="connsiteY5" fmla="*/ 1656 h 3138969"/>
              <a:gd name="connsiteX0" fmla="*/ 0 w 3082145"/>
              <a:gd name="connsiteY0" fmla="*/ 1656 h 3150544"/>
              <a:gd name="connsiteX1" fmla="*/ 3082144 w 3082145"/>
              <a:gd name="connsiteY1" fmla="*/ 0 h 3150544"/>
              <a:gd name="connsiteX2" fmla="*/ 2772041 w 3082145"/>
              <a:gd name="connsiteY2" fmla="*/ 3150544 h 3150544"/>
              <a:gd name="connsiteX3" fmla="*/ 579722 w 3082145"/>
              <a:gd name="connsiteY3" fmla="*/ 3128747 h 3150544"/>
              <a:gd name="connsiteX4" fmla="*/ 0 w 3082145"/>
              <a:gd name="connsiteY4" fmla="*/ 2549025 h 3150544"/>
              <a:gd name="connsiteX5" fmla="*/ 0 w 3082145"/>
              <a:gd name="connsiteY5" fmla="*/ 1656 h 3150544"/>
              <a:gd name="connsiteX0" fmla="*/ 0 w 2772041"/>
              <a:gd name="connsiteY0" fmla="*/ 1656 h 3150544"/>
              <a:gd name="connsiteX1" fmla="*/ 2769627 w 2772041"/>
              <a:gd name="connsiteY1" fmla="*/ 0 h 3150544"/>
              <a:gd name="connsiteX2" fmla="*/ 2772041 w 2772041"/>
              <a:gd name="connsiteY2" fmla="*/ 3150544 h 3150544"/>
              <a:gd name="connsiteX3" fmla="*/ 579722 w 2772041"/>
              <a:gd name="connsiteY3" fmla="*/ 3128747 h 3150544"/>
              <a:gd name="connsiteX4" fmla="*/ 0 w 2772041"/>
              <a:gd name="connsiteY4" fmla="*/ 2549025 h 3150544"/>
              <a:gd name="connsiteX5" fmla="*/ 0 w 2772041"/>
              <a:gd name="connsiteY5" fmla="*/ 1656 h 3150544"/>
              <a:gd name="connsiteX0" fmla="*/ 0 w 2772041"/>
              <a:gd name="connsiteY0" fmla="*/ 1656 h 3138969"/>
              <a:gd name="connsiteX1" fmla="*/ 2769627 w 2772041"/>
              <a:gd name="connsiteY1" fmla="*/ 0 h 3138969"/>
              <a:gd name="connsiteX2" fmla="*/ 2772041 w 2772041"/>
              <a:gd name="connsiteY2" fmla="*/ 3138969 h 3138969"/>
              <a:gd name="connsiteX3" fmla="*/ 579722 w 2772041"/>
              <a:gd name="connsiteY3" fmla="*/ 3128747 h 3138969"/>
              <a:gd name="connsiteX4" fmla="*/ 0 w 2772041"/>
              <a:gd name="connsiteY4" fmla="*/ 2549025 h 3138969"/>
              <a:gd name="connsiteX5" fmla="*/ 0 w 2772041"/>
              <a:gd name="connsiteY5" fmla="*/ 1656 h 313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72041" h="3138969">
                <a:moveTo>
                  <a:pt x="0" y="1656"/>
                </a:moveTo>
                <a:lnTo>
                  <a:pt x="2769627" y="0"/>
                </a:lnTo>
                <a:cubicBezTo>
                  <a:pt x="2770532" y="2146807"/>
                  <a:pt x="2771136" y="992162"/>
                  <a:pt x="2772041" y="3138969"/>
                </a:cubicBezTo>
                <a:lnTo>
                  <a:pt x="579722" y="3128747"/>
                </a:lnTo>
                <a:cubicBezTo>
                  <a:pt x="259550" y="3128747"/>
                  <a:pt x="0" y="2869197"/>
                  <a:pt x="0" y="2549025"/>
                </a:cubicBezTo>
                <a:lnTo>
                  <a:pt x="0" y="1656"/>
                </a:ln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US"/>
              <a:t>Insert Picture/Text Block</a:t>
            </a:r>
          </a:p>
          <a:p>
            <a:endParaRPr lang="en-US"/>
          </a:p>
          <a:p>
            <a:endParaRPr lang="en-JP"/>
          </a:p>
        </p:txBody>
      </p:sp>
      <p:sp>
        <p:nvSpPr>
          <p:cNvPr id="18" name="タイトル プレースホルダ 1">
            <a:extLst>
              <a:ext uri="{FF2B5EF4-FFF2-40B4-BE49-F238E27FC236}">
                <a16:creationId xmlns:a16="http://schemas.microsoft.com/office/drawing/2014/main" id="{4FBB8310-69E6-7C4E-A4B1-C022B6FEE2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7455190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EF9AE6-D84E-9F43-9506-6676EC51B210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870D8562-3CE7-7044-9BB0-2068A81BF5C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99C450B-0755-7D4A-9672-E700D6F2E50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33363" y="1491374"/>
            <a:ext cx="8677274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/>
            </a:lvl1pPr>
            <a:lvl2pPr marL="342801" indent="0">
              <a:buNone/>
              <a:defRPr sz="1350" b="1"/>
            </a:lvl2pPr>
            <a:lvl3pPr marL="685612" indent="0">
              <a:buNone/>
              <a:defRPr sz="1350" b="1"/>
            </a:lvl3pPr>
            <a:lvl4pPr marL="1028414" indent="0">
              <a:buNone/>
              <a:defRPr sz="1350" b="1"/>
            </a:lvl4pPr>
            <a:lvl5pPr marL="1371218" indent="0">
              <a:buNone/>
              <a:defRPr sz="135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705B1BEB-AC9F-9643-A446-ABE1DDB9614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33362" y="1093767"/>
            <a:ext cx="8677274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50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Primary Titl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CE3E4B99-F815-F000-743B-0A2CE7B24B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24926" y="277419"/>
            <a:ext cx="844617" cy="394888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B26CD1A1-A451-4F40-D2E5-2F42DC26D66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8093234" y="6293801"/>
            <a:ext cx="825739" cy="372288"/>
          </a:xfrm>
          <a:prstGeom prst="rect">
            <a:avLst/>
          </a:prstGeom>
        </p:spPr>
      </p:pic>
      <p:sp>
        <p:nvSpPr>
          <p:cNvPr id="28" name="スライド番号プレースホルダ 5">
            <a:extLst>
              <a:ext uri="{FF2B5EF4-FFF2-40B4-BE49-F238E27FC236}">
                <a16:creationId xmlns:a16="http://schemas.microsoft.com/office/drawing/2014/main" id="{F964ADE6-9B0D-EC45-959C-FEEA5CDDFB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7033037"/>
      </p:ext>
    </p:extLst>
  </p:cSld>
  <p:clrMapOvr>
    <a:masterClrMapping/>
  </p:clrMapOvr>
  <p:transition spd="slow">
    <p:push dir="u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dvanced Chart Full Wid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A6D4E593-FDCC-D14E-9C5E-5F309E415C26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231917" y="3076287"/>
            <a:ext cx="8678721" cy="288255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/>
            </a:lvl1pPr>
          </a:lstStyle>
          <a:p>
            <a:r>
              <a:rPr lang="en-JP"/>
              <a:t>Insert Chart</a:t>
            </a:r>
          </a:p>
        </p:txBody>
      </p:sp>
      <p:sp>
        <p:nvSpPr>
          <p:cNvPr id="12" name="タイトル プレースホルダ 1">
            <a:extLst>
              <a:ext uri="{FF2B5EF4-FFF2-40B4-BE49-F238E27FC236}">
                <a16:creationId xmlns:a16="http://schemas.microsoft.com/office/drawing/2014/main" id="{75E45CD2-2EBD-AE47-837E-9F752C565F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7455190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436966D-3DF0-4D41-9D26-4860D147F807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07DE8F7E-1418-1C4C-A62B-2385714992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628A960D-6A45-6744-9BDB-7070B443CC6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3363" y="1491374"/>
            <a:ext cx="8677274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/>
            </a:lvl1pPr>
            <a:lvl2pPr marL="342801" indent="0">
              <a:buNone/>
              <a:defRPr sz="1350" b="1"/>
            </a:lvl2pPr>
            <a:lvl3pPr marL="685612" indent="0">
              <a:buNone/>
              <a:defRPr sz="1350" b="1"/>
            </a:lvl3pPr>
            <a:lvl4pPr marL="1028414" indent="0">
              <a:buNone/>
              <a:defRPr sz="1350" b="1"/>
            </a:lvl4pPr>
            <a:lvl5pPr marL="1371218" indent="0">
              <a:buNone/>
              <a:defRPr sz="135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21493179-5EA4-604B-A9DF-BDA818F0166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33362" y="1093767"/>
            <a:ext cx="8677274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50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Primary Titl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00C30676-2257-45ED-3071-8F49A5255BC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24926" y="277419"/>
            <a:ext cx="844617" cy="394888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98C61F55-7AD9-5E3C-B966-7F221043897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8093234" y="6293801"/>
            <a:ext cx="825739" cy="372288"/>
          </a:xfrm>
          <a:prstGeom prst="rect">
            <a:avLst/>
          </a:prstGeom>
        </p:spPr>
      </p:pic>
      <p:sp>
        <p:nvSpPr>
          <p:cNvPr id="23" name="スライド番号プレースホルダ 5">
            <a:extLst>
              <a:ext uri="{FF2B5EF4-FFF2-40B4-BE49-F238E27FC236}">
                <a16:creationId xmlns:a16="http://schemas.microsoft.com/office/drawing/2014/main" id="{600920FB-2D44-F645-865D-89FFECB095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7213591"/>
      </p:ext>
    </p:extLst>
  </p:cSld>
  <p:clrMapOvr>
    <a:masterClrMapping/>
  </p:clrMapOvr>
  <p:transition spd="slow">
    <p:push dir="u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dvanced Char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A6D4E593-FDCC-D14E-9C5E-5F309E415C26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3170419" y="1093768"/>
            <a:ext cx="5740219" cy="49100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/>
            </a:lvl1pPr>
          </a:lstStyle>
          <a:p>
            <a:r>
              <a:rPr lang="en-JP"/>
              <a:t>Insert Chart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EF65D74B-37DA-0D46-8B56-9B362C84E6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3362" y="3178298"/>
            <a:ext cx="2813975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35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itl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BF5F6A26-5AAA-884F-A319-DE9881530AA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3362" y="3575905"/>
            <a:ext cx="2813975" cy="2427950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28588" indent="-128588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 sz="1050" b="0">
                <a:solidFill>
                  <a:schemeClr val="tx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ext.</a:t>
            </a:r>
          </a:p>
        </p:txBody>
      </p:sp>
      <p:sp>
        <p:nvSpPr>
          <p:cNvPr id="13" name="タイトル プレースホルダ 1">
            <a:extLst>
              <a:ext uri="{FF2B5EF4-FFF2-40B4-BE49-F238E27FC236}">
                <a16:creationId xmlns:a16="http://schemas.microsoft.com/office/drawing/2014/main" id="{2256F400-EDA8-7F44-BF13-278518497C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7455190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AC2B0AC-7801-6C42-BA03-0669DC118159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875659DC-941F-AA40-8336-C3B1BF32BA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5375A5A-6A84-7145-B49C-982F8461940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3364" y="1491374"/>
            <a:ext cx="2813974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/>
            </a:lvl1pPr>
            <a:lvl2pPr marL="342801" indent="0">
              <a:buNone/>
              <a:defRPr sz="1350" b="1"/>
            </a:lvl2pPr>
            <a:lvl3pPr marL="685612" indent="0">
              <a:buNone/>
              <a:defRPr sz="1350" b="1"/>
            </a:lvl3pPr>
            <a:lvl4pPr marL="1028414" indent="0">
              <a:buNone/>
              <a:defRPr sz="1350" b="1"/>
            </a:lvl4pPr>
            <a:lvl5pPr marL="1371218" indent="0">
              <a:buNone/>
              <a:defRPr sz="135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5F7E9041-544E-3547-AC30-65F55E91E1E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33363" y="1093767"/>
            <a:ext cx="2813974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50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Primary Titl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8EA8FF0-4182-D24E-F7F9-1B768F9B5C8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24926" y="277419"/>
            <a:ext cx="844617" cy="394888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F8326FE7-9691-9CA8-A423-5F16037F4F5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8093234" y="6293801"/>
            <a:ext cx="825739" cy="372288"/>
          </a:xfrm>
          <a:prstGeom prst="rect">
            <a:avLst/>
          </a:prstGeom>
        </p:spPr>
      </p:pic>
      <p:sp>
        <p:nvSpPr>
          <p:cNvPr id="24" name="スライド番号プレースホルダ 5">
            <a:extLst>
              <a:ext uri="{FF2B5EF4-FFF2-40B4-BE49-F238E27FC236}">
                <a16:creationId xmlns:a16="http://schemas.microsoft.com/office/drawing/2014/main" id="{71FCF96E-3BB8-0745-B029-6B6BE42912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3948873"/>
      </p:ext>
    </p:extLst>
  </p:cSld>
  <p:clrMapOvr>
    <a:masterClrMapping/>
  </p:clrMapOvr>
  <p:transition spd="slow">
    <p:push dir="u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dvanced Chart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A6D4E593-FDCC-D14E-9C5E-5F309E415C26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231917" y="3076287"/>
            <a:ext cx="4281488" cy="29384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/>
            </a:lvl1pPr>
          </a:lstStyle>
          <a:p>
            <a:r>
              <a:rPr lang="en-JP"/>
              <a:t>Insert Chart</a:t>
            </a:r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F1FC7466-185A-8B44-ABF0-5410C1127700}"/>
              </a:ext>
            </a:extLst>
          </p:cNvPr>
          <p:cNvSpPr>
            <a:spLocks noGrp="1"/>
          </p:cNvSpPr>
          <p:nvPr>
            <p:ph type="chart" sz="quarter" idx="22" hasCustomPrompt="1"/>
          </p:nvPr>
        </p:nvSpPr>
        <p:spPr>
          <a:xfrm>
            <a:off x="4654627" y="3076287"/>
            <a:ext cx="4281488" cy="29384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/>
            </a:lvl1pPr>
          </a:lstStyle>
          <a:p>
            <a:r>
              <a:rPr lang="en-JP"/>
              <a:t>Insert Chart</a:t>
            </a:r>
          </a:p>
        </p:txBody>
      </p:sp>
      <p:sp>
        <p:nvSpPr>
          <p:cNvPr id="12" name="タイトル プレースホルダ 1">
            <a:extLst>
              <a:ext uri="{FF2B5EF4-FFF2-40B4-BE49-F238E27FC236}">
                <a16:creationId xmlns:a16="http://schemas.microsoft.com/office/drawing/2014/main" id="{906CE02B-33D8-B048-A73D-781A3402C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7455190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679FB0B-7616-F04F-9B4C-586869A82E96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1C168495-CA79-E440-A93B-B87B3674835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6F06E4B-A978-4E46-AE6C-67B54F7E34D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3363" y="1491374"/>
            <a:ext cx="8702752" cy="1464957"/>
          </a:xfrm>
        </p:spPr>
        <p:txBody>
          <a:bodyPr tIns="0" rIns="0" bIns="0" numCol="2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/>
            </a:lvl1pPr>
            <a:lvl2pPr marL="342801" indent="0">
              <a:buNone/>
              <a:defRPr sz="1350" b="1"/>
            </a:lvl2pPr>
            <a:lvl3pPr marL="685612" indent="0">
              <a:buNone/>
              <a:defRPr sz="1350" b="1"/>
            </a:lvl3pPr>
            <a:lvl4pPr marL="1028414" indent="0">
              <a:buNone/>
              <a:defRPr sz="1350" b="1"/>
            </a:lvl4pPr>
            <a:lvl5pPr marL="1371218" indent="0">
              <a:buNone/>
              <a:defRPr sz="135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3FF373A1-4E48-6C48-A075-153436CF76D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33362" y="1093767"/>
            <a:ext cx="8702752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50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Primary Titl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1DE3CA87-67F2-B835-DC78-D274143B60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24926" y="277419"/>
            <a:ext cx="844617" cy="394888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C77F05F3-048F-DD45-56A9-6BECC8F626F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8093234" y="6293801"/>
            <a:ext cx="825739" cy="372288"/>
          </a:xfrm>
          <a:prstGeom prst="rect">
            <a:avLst/>
          </a:prstGeom>
        </p:spPr>
      </p:pic>
      <p:sp>
        <p:nvSpPr>
          <p:cNvPr id="22" name="スライド番号プレースホルダ 5">
            <a:extLst>
              <a:ext uri="{FF2B5EF4-FFF2-40B4-BE49-F238E27FC236}">
                <a16:creationId xmlns:a16="http://schemas.microsoft.com/office/drawing/2014/main" id="{8AFBB1AB-19B7-1347-93F8-D14235DD23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949061"/>
      </p:ext>
    </p:extLst>
  </p:cSld>
  <p:clrMapOvr>
    <a:masterClrMapping/>
  </p:clrMapOvr>
  <p:transition spd="slow">
    <p:push dir="u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dvanced Chart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A6D4E593-FDCC-D14E-9C5E-5F309E415C26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231918" y="3076287"/>
            <a:ext cx="2818358" cy="295367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/>
            </a:lvl1pPr>
          </a:lstStyle>
          <a:p>
            <a:r>
              <a:rPr lang="en-JP"/>
              <a:t>Insert Chart</a:t>
            </a:r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8D9BD23C-1777-C442-B4B0-BADF450483EA}"/>
              </a:ext>
            </a:extLst>
          </p:cNvPr>
          <p:cNvSpPr>
            <a:spLocks noGrp="1"/>
          </p:cNvSpPr>
          <p:nvPr>
            <p:ph type="chart" sz="quarter" idx="22" hasCustomPrompt="1"/>
          </p:nvPr>
        </p:nvSpPr>
        <p:spPr>
          <a:xfrm>
            <a:off x="3162821" y="3076287"/>
            <a:ext cx="2818358" cy="295367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/>
            </a:lvl1pPr>
          </a:lstStyle>
          <a:p>
            <a:r>
              <a:rPr lang="en-JP"/>
              <a:t>Insert Chart</a:t>
            </a:r>
          </a:p>
        </p:txBody>
      </p:sp>
      <p:sp>
        <p:nvSpPr>
          <p:cNvPr id="11" name="Chart Placeholder 7">
            <a:extLst>
              <a:ext uri="{FF2B5EF4-FFF2-40B4-BE49-F238E27FC236}">
                <a16:creationId xmlns:a16="http://schemas.microsoft.com/office/drawing/2014/main" id="{2D7D413C-2FF1-204A-83C6-B7426603B7C2}"/>
              </a:ext>
            </a:extLst>
          </p:cNvPr>
          <p:cNvSpPr>
            <a:spLocks noGrp="1"/>
          </p:cNvSpPr>
          <p:nvPr>
            <p:ph type="chart" sz="quarter" idx="23" hasCustomPrompt="1"/>
          </p:nvPr>
        </p:nvSpPr>
        <p:spPr>
          <a:xfrm>
            <a:off x="6092281" y="3076287"/>
            <a:ext cx="2818358" cy="295367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/>
            </a:lvl1pPr>
          </a:lstStyle>
          <a:p>
            <a:r>
              <a:rPr lang="en-JP"/>
              <a:t>Insert Chart</a:t>
            </a:r>
          </a:p>
        </p:txBody>
      </p:sp>
      <p:sp>
        <p:nvSpPr>
          <p:cNvPr id="17" name="タイトル プレースホルダ 1">
            <a:extLst>
              <a:ext uri="{FF2B5EF4-FFF2-40B4-BE49-F238E27FC236}">
                <a16:creationId xmlns:a16="http://schemas.microsoft.com/office/drawing/2014/main" id="{2FFB1535-D35E-D242-B225-DDF1C53BB8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7455190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EFC8CB7-67E9-8A46-B53F-F34ACE18BE87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4942DB0C-137A-4E4C-B926-77CEECC512A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D1171B1-AEC6-164D-8FE0-E0B9353A55B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3363" y="1491374"/>
            <a:ext cx="8677274" cy="1464957"/>
          </a:xfrm>
        </p:spPr>
        <p:txBody>
          <a:bodyPr tIns="0" rIns="0" bIns="0" numCol="2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/>
            </a:lvl1pPr>
            <a:lvl2pPr marL="342801" indent="0">
              <a:buNone/>
              <a:defRPr sz="1350" b="1"/>
            </a:lvl2pPr>
            <a:lvl3pPr marL="685612" indent="0">
              <a:buNone/>
              <a:defRPr sz="1350" b="1"/>
            </a:lvl3pPr>
            <a:lvl4pPr marL="1028414" indent="0">
              <a:buNone/>
              <a:defRPr sz="1350" b="1"/>
            </a:lvl4pPr>
            <a:lvl5pPr marL="1371218" indent="0">
              <a:buNone/>
              <a:defRPr sz="135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6C4AA1F-8B09-5544-9C70-388A6E2940C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33362" y="1093767"/>
            <a:ext cx="8677274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50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Primary Titl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3EA51E5-CE76-1D09-5293-93AC4F5BCF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24926" y="277419"/>
            <a:ext cx="844617" cy="394888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DD104C88-B9AB-0AF3-FC6E-68D4DE759C7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8093234" y="6293801"/>
            <a:ext cx="825739" cy="372288"/>
          </a:xfrm>
          <a:prstGeom prst="rect">
            <a:avLst/>
          </a:prstGeom>
        </p:spPr>
      </p:pic>
      <p:sp>
        <p:nvSpPr>
          <p:cNvPr id="25" name="スライド番号プレースホルダ 5">
            <a:extLst>
              <a:ext uri="{FF2B5EF4-FFF2-40B4-BE49-F238E27FC236}">
                <a16:creationId xmlns:a16="http://schemas.microsoft.com/office/drawing/2014/main" id="{5EB1023E-4E73-AD49-83B0-D7B458250C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14022"/>
      </p:ext>
    </p:extLst>
  </p:cSld>
  <p:clrMapOvr>
    <a:masterClrMapping/>
  </p:clrMapOvr>
  <p:transition spd="slow">
    <p:push dir="u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D&amp;T Title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>
            <a:extLst>
              <a:ext uri="{FF2B5EF4-FFF2-40B4-BE49-F238E27FC236}">
                <a16:creationId xmlns:a16="http://schemas.microsoft.com/office/drawing/2014/main" id="{82B9CECE-7D8F-8C4A-AFC6-A963B1F05594}"/>
              </a:ext>
            </a:extLst>
          </p:cNvPr>
          <p:cNvSpPr/>
          <p:nvPr/>
        </p:nvSpPr>
        <p:spPr>
          <a:xfrm>
            <a:off x="0" y="61264"/>
            <a:ext cx="191386" cy="8490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350">
              <a:solidFill>
                <a:schemeClr val="accent1"/>
              </a:solidFill>
            </a:endParaRP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1E79114-5B74-9547-8292-DAB8965D43F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1754" y="506"/>
            <a:ext cx="8594519" cy="3428494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64472"/>
              <a:gd name="connsiteY0" fmla="*/ 0 h 6630428"/>
              <a:gd name="connsiteX1" fmla="*/ 11864472 w 11864472"/>
              <a:gd name="connsiteY1" fmla="*/ 188353 h 6630428"/>
              <a:gd name="connsiteX2" fmla="*/ 11855613 w 11864472"/>
              <a:gd name="connsiteY2" fmla="*/ 6628774 h 6630428"/>
              <a:gd name="connsiteX3" fmla="*/ 579722 w 11864472"/>
              <a:gd name="connsiteY3" fmla="*/ 6630428 h 6630428"/>
              <a:gd name="connsiteX4" fmla="*/ 0 w 11864472"/>
              <a:gd name="connsiteY4" fmla="*/ 6050706 h 6630428"/>
              <a:gd name="connsiteX5" fmla="*/ 0 w 11864472"/>
              <a:gd name="connsiteY5" fmla="*/ 0 h 6630428"/>
              <a:gd name="connsiteX0" fmla="*/ 0 w 11864472"/>
              <a:gd name="connsiteY0" fmla="*/ 13527 h 6643955"/>
              <a:gd name="connsiteX1" fmla="*/ 11864472 w 11864472"/>
              <a:gd name="connsiteY1" fmla="*/ 0 h 6643955"/>
              <a:gd name="connsiteX2" fmla="*/ 11855613 w 11864472"/>
              <a:gd name="connsiteY2" fmla="*/ 6642301 h 6643955"/>
              <a:gd name="connsiteX3" fmla="*/ 579722 w 11864472"/>
              <a:gd name="connsiteY3" fmla="*/ 6643955 h 6643955"/>
              <a:gd name="connsiteX4" fmla="*/ 0 w 11864472"/>
              <a:gd name="connsiteY4" fmla="*/ 6064233 h 6643955"/>
              <a:gd name="connsiteX5" fmla="*/ 0 w 11864472"/>
              <a:gd name="connsiteY5" fmla="*/ 13527 h 6643955"/>
              <a:gd name="connsiteX0" fmla="*/ 0 w 11864472"/>
              <a:gd name="connsiteY0" fmla="*/ 1319813 h 6643955"/>
              <a:gd name="connsiteX1" fmla="*/ 11864472 w 11864472"/>
              <a:gd name="connsiteY1" fmla="*/ 0 h 6643955"/>
              <a:gd name="connsiteX2" fmla="*/ 11855613 w 11864472"/>
              <a:gd name="connsiteY2" fmla="*/ 6642301 h 6643955"/>
              <a:gd name="connsiteX3" fmla="*/ 579722 w 11864472"/>
              <a:gd name="connsiteY3" fmla="*/ 6643955 h 6643955"/>
              <a:gd name="connsiteX4" fmla="*/ 0 w 11864472"/>
              <a:gd name="connsiteY4" fmla="*/ 6064233 h 6643955"/>
              <a:gd name="connsiteX5" fmla="*/ 0 w 11864472"/>
              <a:gd name="connsiteY5" fmla="*/ 1319813 h 6643955"/>
              <a:gd name="connsiteX0" fmla="*/ 0 w 11864472"/>
              <a:gd name="connsiteY0" fmla="*/ 13527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13527 h 5337669"/>
              <a:gd name="connsiteX0" fmla="*/ 0 w 11864472"/>
              <a:gd name="connsiteY0" fmla="*/ 1652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1652 h 5337669"/>
              <a:gd name="connsiteX0" fmla="*/ 0 w 11864472"/>
              <a:gd name="connsiteY0" fmla="*/ 2201927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2201927 h 5337669"/>
              <a:gd name="connsiteX0" fmla="*/ 0 w 11864472"/>
              <a:gd name="connsiteY0" fmla="*/ 1652 h 3137394"/>
              <a:gd name="connsiteX1" fmla="*/ 11864472 w 11864472"/>
              <a:gd name="connsiteY1" fmla="*/ 0 h 3137394"/>
              <a:gd name="connsiteX2" fmla="*/ 11855613 w 11864472"/>
              <a:gd name="connsiteY2" fmla="*/ 3135740 h 3137394"/>
              <a:gd name="connsiteX3" fmla="*/ 579722 w 11864472"/>
              <a:gd name="connsiteY3" fmla="*/ 3137394 h 3137394"/>
              <a:gd name="connsiteX4" fmla="*/ 0 w 11864472"/>
              <a:gd name="connsiteY4" fmla="*/ 2557672 h 3137394"/>
              <a:gd name="connsiteX5" fmla="*/ 0 w 11864472"/>
              <a:gd name="connsiteY5" fmla="*/ 1652 h 3137394"/>
              <a:gd name="connsiteX0" fmla="*/ 0 w 11864472"/>
              <a:gd name="connsiteY0" fmla="*/ 0 h 3420555"/>
              <a:gd name="connsiteX1" fmla="*/ 11864472 w 11864472"/>
              <a:gd name="connsiteY1" fmla="*/ 283161 h 3420555"/>
              <a:gd name="connsiteX2" fmla="*/ 11855613 w 11864472"/>
              <a:gd name="connsiteY2" fmla="*/ 3418901 h 3420555"/>
              <a:gd name="connsiteX3" fmla="*/ 579722 w 11864472"/>
              <a:gd name="connsiteY3" fmla="*/ 3420555 h 3420555"/>
              <a:gd name="connsiteX4" fmla="*/ 0 w 11864472"/>
              <a:gd name="connsiteY4" fmla="*/ 2840833 h 3420555"/>
              <a:gd name="connsiteX5" fmla="*/ 0 w 11864472"/>
              <a:gd name="connsiteY5" fmla="*/ 0 h 3420555"/>
              <a:gd name="connsiteX0" fmla="*/ 0 w 11864472"/>
              <a:gd name="connsiteY0" fmla="*/ 1652 h 3422207"/>
              <a:gd name="connsiteX1" fmla="*/ 11864472 w 11864472"/>
              <a:gd name="connsiteY1" fmla="*/ 0 h 3422207"/>
              <a:gd name="connsiteX2" fmla="*/ 11855613 w 11864472"/>
              <a:gd name="connsiteY2" fmla="*/ 3420553 h 3422207"/>
              <a:gd name="connsiteX3" fmla="*/ 579722 w 11864472"/>
              <a:gd name="connsiteY3" fmla="*/ 3422207 h 3422207"/>
              <a:gd name="connsiteX4" fmla="*/ 0 w 11864472"/>
              <a:gd name="connsiteY4" fmla="*/ 2842485 h 3422207"/>
              <a:gd name="connsiteX5" fmla="*/ 0 w 11864472"/>
              <a:gd name="connsiteY5" fmla="*/ 1652 h 3422207"/>
              <a:gd name="connsiteX0" fmla="*/ 0 w 11855613"/>
              <a:gd name="connsiteY0" fmla="*/ 0 h 3420555"/>
              <a:gd name="connsiteX1" fmla="*/ 11834492 w 11855613"/>
              <a:gd name="connsiteY1" fmla="*/ 58309 h 3420555"/>
              <a:gd name="connsiteX2" fmla="*/ 11855613 w 11855613"/>
              <a:gd name="connsiteY2" fmla="*/ 3418901 h 3420555"/>
              <a:gd name="connsiteX3" fmla="*/ 579722 w 11855613"/>
              <a:gd name="connsiteY3" fmla="*/ 3420555 h 3420555"/>
              <a:gd name="connsiteX4" fmla="*/ 0 w 11855613"/>
              <a:gd name="connsiteY4" fmla="*/ 2840833 h 3420555"/>
              <a:gd name="connsiteX5" fmla="*/ 0 w 11855613"/>
              <a:gd name="connsiteY5" fmla="*/ 0 h 3420555"/>
              <a:gd name="connsiteX0" fmla="*/ 0 w 11855613"/>
              <a:gd name="connsiteY0" fmla="*/ 1652 h 3362246"/>
              <a:gd name="connsiteX1" fmla="*/ 11834492 w 11855613"/>
              <a:gd name="connsiteY1" fmla="*/ 0 h 3362246"/>
              <a:gd name="connsiteX2" fmla="*/ 11855613 w 11855613"/>
              <a:gd name="connsiteY2" fmla="*/ 3360592 h 3362246"/>
              <a:gd name="connsiteX3" fmla="*/ 579722 w 11855613"/>
              <a:gd name="connsiteY3" fmla="*/ 3362246 h 3362246"/>
              <a:gd name="connsiteX4" fmla="*/ 0 w 11855613"/>
              <a:gd name="connsiteY4" fmla="*/ 2782524 h 3362246"/>
              <a:gd name="connsiteX5" fmla="*/ 0 w 11855613"/>
              <a:gd name="connsiteY5" fmla="*/ 1652 h 3362246"/>
              <a:gd name="connsiteX0" fmla="*/ 0 w 11864473"/>
              <a:gd name="connsiteY0" fmla="*/ 0 h 3360594"/>
              <a:gd name="connsiteX1" fmla="*/ 11864473 w 11864473"/>
              <a:gd name="connsiteY1" fmla="*/ 13338 h 3360594"/>
              <a:gd name="connsiteX2" fmla="*/ 11855613 w 11864473"/>
              <a:gd name="connsiteY2" fmla="*/ 3358940 h 3360594"/>
              <a:gd name="connsiteX3" fmla="*/ 579722 w 11864473"/>
              <a:gd name="connsiteY3" fmla="*/ 3360594 h 3360594"/>
              <a:gd name="connsiteX4" fmla="*/ 0 w 11864473"/>
              <a:gd name="connsiteY4" fmla="*/ 2780872 h 3360594"/>
              <a:gd name="connsiteX5" fmla="*/ 0 w 11864473"/>
              <a:gd name="connsiteY5" fmla="*/ 0 h 3360594"/>
              <a:gd name="connsiteX0" fmla="*/ 0 w 11864473"/>
              <a:gd name="connsiteY0" fmla="*/ 1652 h 3362246"/>
              <a:gd name="connsiteX1" fmla="*/ 11864473 w 11864473"/>
              <a:gd name="connsiteY1" fmla="*/ 0 h 3362246"/>
              <a:gd name="connsiteX2" fmla="*/ 11855613 w 11864473"/>
              <a:gd name="connsiteY2" fmla="*/ 3360592 h 3362246"/>
              <a:gd name="connsiteX3" fmla="*/ 579722 w 11864473"/>
              <a:gd name="connsiteY3" fmla="*/ 3362246 h 3362246"/>
              <a:gd name="connsiteX4" fmla="*/ 0 w 11864473"/>
              <a:gd name="connsiteY4" fmla="*/ 2782524 h 3362246"/>
              <a:gd name="connsiteX5" fmla="*/ 0 w 11864473"/>
              <a:gd name="connsiteY5" fmla="*/ 1652 h 3362246"/>
              <a:gd name="connsiteX0" fmla="*/ 0 w 11855629"/>
              <a:gd name="connsiteY0" fmla="*/ 1652 h 3362246"/>
              <a:gd name="connsiteX1" fmla="*/ 11459359 w 11855629"/>
              <a:gd name="connsiteY1" fmla="*/ 0 h 3362246"/>
              <a:gd name="connsiteX2" fmla="*/ 11855613 w 11855629"/>
              <a:gd name="connsiteY2" fmla="*/ 3360592 h 3362246"/>
              <a:gd name="connsiteX3" fmla="*/ 579722 w 11855629"/>
              <a:gd name="connsiteY3" fmla="*/ 3362246 h 3362246"/>
              <a:gd name="connsiteX4" fmla="*/ 0 w 11855629"/>
              <a:gd name="connsiteY4" fmla="*/ 2782524 h 3362246"/>
              <a:gd name="connsiteX5" fmla="*/ 0 w 11855629"/>
              <a:gd name="connsiteY5" fmla="*/ 1652 h 3362246"/>
              <a:gd name="connsiteX0" fmla="*/ 0 w 11459359"/>
              <a:gd name="connsiteY0" fmla="*/ 1652 h 3362246"/>
              <a:gd name="connsiteX1" fmla="*/ 11459359 w 11459359"/>
              <a:gd name="connsiteY1" fmla="*/ 0 h 3362246"/>
              <a:gd name="connsiteX2" fmla="*/ 11438924 w 11459359"/>
              <a:gd name="connsiteY2" fmla="*/ 3360592 h 3362246"/>
              <a:gd name="connsiteX3" fmla="*/ 579722 w 11459359"/>
              <a:gd name="connsiteY3" fmla="*/ 3362246 h 3362246"/>
              <a:gd name="connsiteX4" fmla="*/ 0 w 11459359"/>
              <a:gd name="connsiteY4" fmla="*/ 2782524 h 3362246"/>
              <a:gd name="connsiteX5" fmla="*/ 0 w 11459359"/>
              <a:gd name="connsiteY5" fmla="*/ 1652 h 3362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59359" h="3362246">
                <a:moveTo>
                  <a:pt x="0" y="1652"/>
                </a:moveTo>
                <a:lnTo>
                  <a:pt x="11459359" y="0"/>
                </a:lnTo>
                <a:cubicBezTo>
                  <a:pt x="11456406" y="1115201"/>
                  <a:pt x="11441877" y="2245391"/>
                  <a:pt x="11438924" y="3360592"/>
                </a:cubicBezTo>
                <a:lnTo>
                  <a:pt x="579722" y="3362246"/>
                </a:lnTo>
                <a:cubicBezTo>
                  <a:pt x="259550" y="3362246"/>
                  <a:pt x="0" y="3102696"/>
                  <a:pt x="0" y="2782524"/>
                </a:cubicBezTo>
                <a:lnTo>
                  <a:pt x="0" y="1652"/>
                </a:lnTo>
                <a:close/>
              </a:path>
            </a:pathLst>
          </a:custGeom>
          <a:noFill/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P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F5E8E0A-41D4-8346-9248-0B9AAC7123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6047" y="3956817"/>
            <a:ext cx="5774753" cy="1015681"/>
          </a:xfrm>
          <a:prstGeom prst="rect">
            <a:avLst/>
          </a:prstGeom>
        </p:spPr>
        <p:txBody>
          <a:bodyPr wrap="square" lIns="0" tIns="0" rIns="0" bIns="0" anchor="b" anchorCtr="0">
            <a:normAutofit/>
          </a:bodyPr>
          <a:lstStyle>
            <a:lvl1pPr>
              <a:lnSpc>
                <a:spcPts val="2850"/>
              </a:lnSpc>
              <a:defRPr sz="2700" b="1" i="0" baseline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5A63B8E-5554-A04E-B4C5-97ECEE58B6CC}"/>
              </a:ext>
            </a:extLst>
          </p:cNvPr>
          <p:cNvSpPr/>
          <p:nvPr/>
        </p:nvSpPr>
        <p:spPr>
          <a:xfrm>
            <a:off x="561754" y="3764031"/>
            <a:ext cx="72900" cy="27071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350">
              <a:solidFill>
                <a:srgbClr val="FFFFFF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C2637423-F180-3943-B758-C8CCFA816E0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78941" y="6357944"/>
            <a:ext cx="1468934" cy="117462"/>
          </a:xfrm>
          <a:prstGeom prst="rect">
            <a:avLst/>
          </a:prstGeom>
        </p:spPr>
      </p:pic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F7327E43-4F43-914D-BE65-DB0ADB5A5E1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96046" y="5256032"/>
            <a:ext cx="5774753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itle of Position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4A23AA60-6137-8841-B2ED-51B2F2E5C1B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6046" y="5515046"/>
            <a:ext cx="5774753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Department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B4FEAB2-22C6-3446-B4D2-5B610A729BC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6046" y="5769533"/>
            <a:ext cx="5774753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4085F378-E668-A648-B7B1-8C76C309ED6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96046" y="4997511"/>
            <a:ext cx="5774753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C1E31EF6-BED5-C14F-94AD-4E5C55B8551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96046" y="6027353"/>
            <a:ext cx="5774753" cy="234001"/>
          </a:xfrm>
        </p:spPr>
        <p:txBody>
          <a:bodyPr tIns="0" rIns="0" bIns="0" anchor="ctr" anchorCtr="0">
            <a:noAutofit/>
          </a:bodyPr>
          <a:lstStyle>
            <a:lvl1pPr marL="0" marR="0" indent="0" algn="l" defTabSz="68561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 sz="600"/>
            </a:lvl1pPr>
            <a:lvl2pPr>
              <a:defRPr sz="6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marL="0" marR="0" lvl="0" indent="0" algn="l" defTabSz="68561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rivate and confidential. For internal use only.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997333C-F4C2-90F7-BE72-0C6BADEE9F3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20000" y="3723142"/>
            <a:ext cx="1127760" cy="527267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8F10AFC6-D34D-49DF-43FF-6A6504CC0D6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912980" y="3871780"/>
            <a:ext cx="839804" cy="378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187792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orient="horz" pos="4065">
          <p15:clr>
            <a:srgbClr val="FBAE40"/>
          </p15:clr>
        </p15:guide>
        <p15:guide id="2" orient="horz" pos="2364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A5DA52-BBAF-EA48-AEC6-EA08F428CF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5029" y="371960"/>
            <a:ext cx="8693944" cy="5642761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2250"/>
            </a:lvl1pPr>
          </a:lstStyle>
          <a:p>
            <a:pPr lvl="0"/>
            <a:r>
              <a:rPr lang="en-US"/>
              <a:t>Blank slide</a:t>
            </a:r>
            <a:endParaRPr lang="en-JP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666045D-3AEC-ACDD-6A45-0ED3BAECBF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093234" y="6293801"/>
            <a:ext cx="825739" cy="37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3311806"/>
      </p:ext>
    </p:extLst>
  </p:cSld>
  <p:clrMapOvr>
    <a:masterClrMapping/>
  </p:clrMapOvr>
  <p:transition spd="slow">
    <p:push dir="u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5709C50A-25A5-7641-AAFB-B85296034B7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7727" y="6194345"/>
            <a:ext cx="2008545" cy="160611"/>
          </a:xfrm>
          <a:prstGeom prst="rect">
            <a:avLst/>
          </a:prstGeom>
        </p:spPr>
      </p:pic>
      <p:pic>
        <p:nvPicPr>
          <p:cNvPr id="8" name="Picture 7" descr="Takeda">
            <a:extLst>
              <a:ext uri="{FF2B5EF4-FFF2-40B4-BE49-F238E27FC236}">
                <a16:creationId xmlns:a16="http://schemas.microsoft.com/office/drawing/2014/main" id="{AEF157DC-E05F-7D4B-934F-A345B93BFFF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99163" y="5064019"/>
            <a:ext cx="1745673" cy="1290936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A5DA52-BBAF-EA48-AEC6-EA08F428CF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5029" y="2293938"/>
            <a:ext cx="8693944" cy="2270125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2250"/>
            </a:lvl1pPr>
          </a:lstStyle>
          <a:p>
            <a:pPr lvl="0"/>
            <a:r>
              <a:rPr lang="en-US"/>
              <a:t>Thank You</a:t>
            </a:r>
            <a:endParaRPr lang="en-JP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F83DB94-A78A-A541-AFCC-04E80749C9B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2149" y="6494066"/>
            <a:ext cx="5219700" cy="254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4E152231-A2E7-92DF-938D-C1937781C96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8093234" y="6293801"/>
            <a:ext cx="825739" cy="37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4292388"/>
      </p:ext>
    </p:extLst>
  </p:cSld>
  <p:clrMapOvr>
    <a:masterClrMapping/>
  </p:clrMapOvr>
  <p:transition spd="slow">
    <p:push dir="u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11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84865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11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01267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11/11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920541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>
            <a:extLst>
              <a:ext uri="{FF2B5EF4-FFF2-40B4-BE49-F238E27FC236}">
                <a16:creationId xmlns:a16="http://schemas.microsoft.com/office/drawing/2014/main" id="{82B9CECE-7D8F-8C4A-AFC6-A963B1F05594}"/>
              </a:ext>
            </a:extLst>
          </p:cNvPr>
          <p:cNvSpPr/>
          <p:nvPr/>
        </p:nvSpPr>
        <p:spPr>
          <a:xfrm>
            <a:off x="0" y="61264"/>
            <a:ext cx="191386" cy="8490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350">
              <a:solidFill>
                <a:schemeClr val="accent1"/>
              </a:solidFill>
            </a:endParaRP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1E79114-5B74-9547-8292-DAB8965D43F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1754" y="506"/>
            <a:ext cx="8594519" cy="3428494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64472"/>
              <a:gd name="connsiteY0" fmla="*/ 0 h 6630428"/>
              <a:gd name="connsiteX1" fmla="*/ 11864472 w 11864472"/>
              <a:gd name="connsiteY1" fmla="*/ 188353 h 6630428"/>
              <a:gd name="connsiteX2" fmla="*/ 11855613 w 11864472"/>
              <a:gd name="connsiteY2" fmla="*/ 6628774 h 6630428"/>
              <a:gd name="connsiteX3" fmla="*/ 579722 w 11864472"/>
              <a:gd name="connsiteY3" fmla="*/ 6630428 h 6630428"/>
              <a:gd name="connsiteX4" fmla="*/ 0 w 11864472"/>
              <a:gd name="connsiteY4" fmla="*/ 6050706 h 6630428"/>
              <a:gd name="connsiteX5" fmla="*/ 0 w 11864472"/>
              <a:gd name="connsiteY5" fmla="*/ 0 h 6630428"/>
              <a:gd name="connsiteX0" fmla="*/ 0 w 11864472"/>
              <a:gd name="connsiteY0" fmla="*/ 13527 h 6643955"/>
              <a:gd name="connsiteX1" fmla="*/ 11864472 w 11864472"/>
              <a:gd name="connsiteY1" fmla="*/ 0 h 6643955"/>
              <a:gd name="connsiteX2" fmla="*/ 11855613 w 11864472"/>
              <a:gd name="connsiteY2" fmla="*/ 6642301 h 6643955"/>
              <a:gd name="connsiteX3" fmla="*/ 579722 w 11864472"/>
              <a:gd name="connsiteY3" fmla="*/ 6643955 h 6643955"/>
              <a:gd name="connsiteX4" fmla="*/ 0 w 11864472"/>
              <a:gd name="connsiteY4" fmla="*/ 6064233 h 6643955"/>
              <a:gd name="connsiteX5" fmla="*/ 0 w 11864472"/>
              <a:gd name="connsiteY5" fmla="*/ 13527 h 6643955"/>
              <a:gd name="connsiteX0" fmla="*/ 0 w 11864472"/>
              <a:gd name="connsiteY0" fmla="*/ 1319813 h 6643955"/>
              <a:gd name="connsiteX1" fmla="*/ 11864472 w 11864472"/>
              <a:gd name="connsiteY1" fmla="*/ 0 h 6643955"/>
              <a:gd name="connsiteX2" fmla="*/ 11855613 w 11864472"/>
              <a:gd name="connsiteY2" fmla="*/ 6642301 h 6643955"/>
              <a:gd name="connsiteX3" fmla="*/ 579722 w 11864472"/>
              <a:gd name="connsiteY3" fmla="*/ 6643955 h 6643955"/>
              <a:gd name="connsiteX4" fmla="*/ 0 w 11864472"/>
              <a:gd name="connsiteY4" fmla="*/ 6064233 h 6643955"/>
              <a:gd name="connsiteX5" fmla="*/ 0 w 11864472"/>
              <a:gd name="connsiteY5" fmla="*/ 1319813 h 6643955"/>
              <a:gd name="connsiteX0" fmla="*/ 0 w 11864472"/>
              <a:gd name="connsiteY0" fmla="*/ 13527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13527 h 5337669"/>
              <a:gd name="connsiteX0" fmla="*/ 0 w 11864472"/>
              <a:gd name="connsiteY0" fmla="*/ 1652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1652 h 5337669"/>
              <a:gd name="connsiteX0" fmla="*/ 0 w 11864472"/>
              <a:gd name="connsiteY0" fmla="*/ 2201927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2201927 h 5337669"/>
              <a:gd name="connsiteX0" fmla="*/ 0 w 11864472"/>
              <a:gd name="connsiteY0" fmla="*/ 1652 h 3137394"/>
              <a:gd name="connsiteX1" fmla="*/ 11864472 w 11864472"/>
              <a:gd name="connsiteY1" fmla="*/ 0 h 3137394"/>
              <a:gd name="connsiteX2" fmla="*/ 11855613 w 11864472"/>
              <a:gd name="connsiteY2" fmla="*/ 3135740 h 3137394"/>
              <a:gd name="connsiteX3" fmla="*/ 579722 w 11864472"/>
              <a:gd name="connsiteY3" fmla="*/ 3137394 h 3137394"/>
              <a:gd name="connsiteX4" fmla="*/ 0 w 11864472"/>
              <a:gd name="connsiteY4" fmla="*/ 2557672 h 3137394"/>
              <a:gd name="connsiteX5" fmla="*/ 0 w 11864472"/>
              <a:gd name="connsiteY5" fmla="*/ 1652 h 3137394"/>
              <a:gd name="connsiteX0" fmla="*/ 0 w 11864472"/>
              <a:gd name="connsiteY0" fmla="*/ 0 h 3420555"/>
              <a:gd name="connsiteX1" fmla="*/ 11864472 w 11864472"/>
              <a:gd name="connsiteY1" fmla="*/ 283161 h 3420555"/>
              <a:gd name="connsiteX2" fmla="*/ 11855613 w 11864472"/>
              <a:gd name="connsiteY2" fmla="*/ 3418901 h 3420555"/>
              <a:gd name="connsiteX3" fmla="*/ 579722 w 11864472"/>
              <a:gd name="connsiteY3" fmla="*/ 3420555 h 3420555"/>
              <a:gd name="connsiteX4" fmla="*/ 0 w 11864472"/>
              <a:gd name="connsiteY4" fmla="*/ 2840833 h 3420555"/>
              <a:gd name="connsiteX5" fmla="*/ 0 w 11864472"/>
              <a:gd name="connsiteY5" fmla="*/ 0 h 3420555"/>
              <a:gd name="connsiteX0" fmla="*/ 0 w 11864472"/>
              <a:gd name="connsiteY0" fmla="*/ 1652 h 3422207"/>
              <a:gd name="connsiteX1" fmla="*/ 11864472 w 11864472"/>
              <a:gd name="connsiteY1" fmla="*/ 0 h 3422207"/>
              <a:gd name="connsiteX2" fmla="*/ 11855613 w 11864472"/>
              <a:gd name="connsiteY2" fmla="*/ 3420553 h 3422207"/>
              <a:gd name="connsiteX3" fmla="*/ 579722 w 11864472"/>
              <a:gd name="connsiteY3" fmla="*/ 3422207 h 3422207"/>
              <a:gd name="connsiteX4" fmla="*/ 0 w 11864472"/>
              <a:gd name="connsiteY4" fmla="*/ 2842485 h 3422207"/>
              <a:gd name="connsiteX5" fmla="*/ 0 w 11864472"/>
              <a:gd name="connsiteY5" fmla="*/ 1652 h 3422207"/>
              <a:gd name="connsiteX0" fmla="*/ 0 w 11855613"/>
              <a:gd name="connsiteY0" fmla="*/ 0 h 3420555"/>
              <a:gd name="connsiteX1" fmla="*/ 11834492 w 11855613"/>
              <a:gd name="connsiteY1" fmla="*/ 58309 h 3420555"/>
              <a:gd name="connsiteX2" fmla="*/ 11855613 w 11855613"/>
              <a:gd name="connsiteY2" fmla="*/ 3418901 h 3420555"/>
              <a:gd name="connsiteX3" fmla="*/ 579722 w 11855613"/>
              <a:gd name="connsiteY3" fmla="*/ 3420555 h 3420555"/>
              <a:gd name="connsiteX4" fmla="*/ 0 w 11855613"/>
              <a:gd name="connsiteY4" fmla="*/ 2840833 h 3420555"/>
              <a:gd name="connsiteX5" fmla="*/ 0 w 11855613"/>
              <a:gd name="connsiteY5" fmla="*/ 0 h 3420555"/>
              <a:gd name="connsiteX0" fmla="*/ 0 w 11855613"/>
              <a:gd name="connsiteY0" fmla="*/ 1652 h 3362246"/>
              <a:gd name="connsiteX1" fmla="*/ 11834492 w 11855613"/>
              <a:gd name="connsiteY1" fmla="*/ 0 h 3362246"/>
              <a:gd name="connsiteX2" fmla="*/ 11855613 w 11855613"/>
              <a:gd name="connsiteY2" fmla="*/ 3360592 h 3362246"/>
              <a:gd name="connsiteX3" fmla="*/ 579722 w 11855613"/>
              <a:gd name="connsiteY3" fmla="*/ 3362246 h 3362246"/>
              <a:gd name="connsiteX4" fmla="*/ 0 w 11855613"/>
              <a:gd name="connsiteY4" fmla="*/ 2782524 h 3362246"/>
              <a:gd name="connsiteX5" fmla="*/ 0 w 11855613"/>
              <a:gd name="connsiteY5" fmla="*/ 1652 h 3362246"/>
              <a:gd name="connsiteX0" fmla="*/ 0 w 11864473"/>
              <a:gd name="connsiteY0" fmla="*/ 0 h 3360594"/>
              <a:gd name="connsiteX1" fmla="*/ 11864473 w 11864473"/>
              <a:gd name="connsiteY1" fmla="*/ 13338 h 3360594"/>
              <a:gd name="connsiteX2" fmla="*/ 11855613 w 11864473"/>
              <a:gd name="connsiteY2" fmla="*/ 3358940 h 3360594"/>
              <a:gd name="connsiteX3" fmla="*/ 579722 w 11864473"/>
              <a:gd name="connsiteY3" fmla="*/ 3360594 h 3360594"/>
              <a:gd name="connsiteX4" fmla="*/ 0 w 11864473"/>
              <a:gd name="connsiteY4" fmla="*/ 2780872 h 3360594"/>
              <a:gd name="connsiteX5" fmla="*/ 0 w 11864473"/>
              <a:gd name="connsiteY5" fmla="*/ 0 h 3360594"/>
              <a:gd name="connsiteX0" fmla="*/ 0 w 11864473"/>
              <a:gd name="connsiteY0" fmla="*/ 1652 h 3362246"/>
              <a:gd name="connsiteX1" fmla="*/ 11864473 w 11864473"/>
              <a:gd name="connsiteY1" fmla="*/ 0 h 3362246"/>
              <a:gd name="connsiteX2" fmla="*/ 11855613 w 11864473"/>
              <a:gd name="connsiteY2" fmla="*/ 3360592 h 3362246"/>
              <a:gd name="connsiteX3" fmla="*/ 579722 w 11864473"/>
              <a:gd name="connsiteY3" fmla="*/ 3362246 h 3362246"/>
              <a:gd name="connsiteX4" fmla="*/ 0 w 11864473"/>
              <a:gd name="connsiteY4" fmla="*/ 2782524 h 3362246"/>
              <a:gd name="connsiteX5" fmla="*/ 0 w 11864473"/>
              <a:gd name="connsiteY5" fmla="*/ 1652 h 3362246"/>
              <a:gd name="connsiteX0" fmla="*/ 0 w 11855629"/>
              <a:gd name="connsiteY0" fmla="*/ 1652 h 3362246"/>
              <a:gd name="connsiteX1" fmla="*/ 11459359 w 11855629"/>
              <a:gd name="connsiteY1" fmla="*/ 0 h 3362246"/>
              <a:gd name="connsiteX2" fmla="*/ 11855613 w 11855629"/>
              <a:gd name="connsiteY2" fmla="*/ 3360592 h 3362246"/>
              <a:gd name="connsiteX3" fmla="*/ 579722 w 11855629"/>
              <a:gd name="connsiteY3" fmla="*/ 3362246 h 3362246"/>
              <a:gd name="connsiteX4" fmla="*/ 0 w 11855629"/>
              <a:gd name="connsiteY4" fmla="*/ 2782524 h 3362246"/>
              <a:gd name="connsiteX5" fmla="*/ 0 w 11855629"/>
              <a:gd name="connsiteY5" fmla="*/ 1652 h 3362246"/>
              <a:gd name="connsiteX0" fmla="*/ 0 w 11459359"/>
              <a:gd name="connsiteY0" fmla="*/ 1652 h 3362246"/>
              <a:gd name="connsiteX1" fmla="*/ 11459359 w 11459359"/>
              <a:gd name="connsiteY1" fmla="*/ 0 h 3362246"/>
              <a:gd name="connsiteX2" fmla="*/ 11438924 w 11459359"/>
              <a:gd name="connsiteY2" fmla="*/ 3360592 h 3362246"/>
              <a:gd name="connsiteX3" fmla="*/ 579722 w 11459359"/>
              <a:gd name="connsiteY3" fmla="*/ 3362246 h 3362246"/>
              <a:gd name="connsiteX4" fmla="*/ 0 w 11459359"/>
              <a:gd name="connsiteY4" fmla="*/ 2782524 h 3362246"/>
              <a:gd name="connsiteX5" fmla="*/ 0 w 11459359"/>
              <a:gd name="connsiteY5" fmla="*/ 1652 h 3362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59359" h="3362246">
                <a:moveTo>
                  <a:pt x="0" y="1652"/>
                </a:moveTo>
                <a:lnTo>
                  <a:pt x="11459359" y="0"/>
                </a:lnTo>
                <a:cubicBezTo>
                  <a:pt x="11456406" y="1115201"/>
                  <a:pt x="11441877" y="2245391"/>
                  <a:pt x="11438924" y="3360592"/>
                </a:cubicBezTo>
                <a:lnTo>
                  <a:pt x="579722" y="3362246"/>
                </a:lnTo>
                <a:cubicBezTo>
                  <a:pt x="259550" y="3362246"/>
                  <a:pt x="0" y="3102696"/>
                  <a:pt x="0" y="2782524"/>
                </a:cubicBezTo>
                <a:lnTo>
                  <a:pt x="0" y="1652"/>
                </a:lnTo>
                <a:close/>
              </a:path>
            </a:pathLst>
          </a:custGeom>
          <a:noFill/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P"/>
          </a:p>
        </p:txBody>
      </p:sp>
      <p:pic>
        <p:nvPicPr>
          <p:cNvPr id="18" name="Picture 17" descr="Takeda">
            <a:extLst>
              <a:ext uri="{FF2B5EF4-FFF2-40B4-BE49-F238E27FC236}">
                <a16:creationId xmlns:a16="http://schemas.microsoft.com/office/drawing/2014/main" id="{5F9376FC-2A9F-C644-AD88-C6E1B65B4D9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2887" y="3362752"/>
            <a:ext cx="1688783" cy="1248865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9F5E8E0A-41D4-8346-9248-0B9AAC7123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6047" y="3956817"/>
            <a:ext cx="5774753" cy="1015681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ts val="2850"/>
              </a:lnSpc>
              <a:defRPr sz="2700" b="1" i="0" baseline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/>
              <a:t>Click to Add </a:t>
            </a:r>
            <a:br>
              <a:rPr lang="en-GB"/>
            </a:br>
            <a:r>
              <a:rPr lang="en-GB"/>
              <a:t>Tit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5A63B8E-5554-A04E-B4C5-97ECEE58B6CC}"/>
              </a:ext>
            </a:extLst>
          </p:cNvPr>
          <p:cNvSpPr/>
          <p:nvPr/>
        </p:nvSpPr>
        <p:spPr>
          <a:xfrm>
            <a:off x="561754" y="3764031"/>
            <a:ext cx="72900" cy="27071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350">
              <a:solidFill>
                <a:srgbClr val="FFFFFF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C2637423-F180-3943-B758-C8CCFA816E0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78941" y="6357944"/>
            <a:ext cx="1468934" cy="117462"/>
          </a:xfrm>
          <a:prstGeom prst="rect">
            <a:avLst/>
          </a:prstGeom>
        </p:spPr>
      </p:pic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F7327E43-4F43-914D-BE65-DB0ADB5A5E1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96046" y="5256032"/>
            <a:ext cx="5774753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itle of Position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4A23AA60-6137-8841-B2ED-51B2F2E5C1B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6046" y="5515046"/>
            <a:ext cx="5774753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Department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B4FEAB2-22C6-3446-B4D2-5B610A729BC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6046" y="5769533"/>
            <a:ext cx="5774753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4085F378-E668-A648-B7B1-8C76C309ED6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96046" y="4997511"/>
            <a:ext cx="5774753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C1E31EF6-BED5-C14F-94AD-4E5C55B8551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96046" y="6027353"/>
            <a:ext cx="5774753" cy="234001"/>
          </a:xfrm>
        </p:spPr>
        <p:txBody>
          <a:bodyPr tIns="0" rIns="0" bIns="0" anchor="ctr" anchorCtr="0">
            <a:noAutofit/>
          </a:bodyPr>
          <a:lstStyle>
            <a:lvl1pPr marL="0" marR="0" indent="0" algn="l" defTabSz="68561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 sz="600"/>
            </a:lvl1pPr>
            <a:lvl2pPr>
              <a:defRPr sz="6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marL="0" marR="0" lvl="0" indent="0" algn="l" defTabSz="68561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rivate and confidential.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28111129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65">
          <p15:clr>
            <a:srgbClr val="FBAE40"/>
          </p15:clr>
        </p15:guide>
        <p15:guide id="2" orient="horz" pos="2364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E12AAF9A-66E2-4300-A9F2-4AF91211CD9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6048" y="2303031"/>
            <a:ext cx="3266048" cy="1125969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ts val="2850"/>
              </a:lnSpc>
              <a:defRPr sz="2700" b="1" i="0" baseline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858392C-47EF-423E-96BA-D77DBA9D426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99885" y="376181"/>
            <a:ext cx="4744900" cy="6108535"/>
          </a:xfrm>
          <a:custGeom>
            <a:avLst/>
            <a:gdLst>
              <a:gd name="connsiteX0" fmla="*/ 0 w 6462532"/>
              <a:gd name="connsiteY0" fmla="*/ 3052818 h 6105636"/>
              <a:gd name="connsiteX1" fmla="*/ 3052818 w 6462532"/>
              <a:gd name="connsiteY1" fmla="*/ 0 h 6105636"/>
              <a:gd name="connsiteX2" fmla="*/ 3409714 w 6462532"/>
              <a:gd name="connsiteY2" fmla="*/ 0 h 6105636"/>
              <a:gd name="connsiteX3" fmla="*/ 6462532 w 6462532"/>
              <a:gd name="connsiteY3" fmla="*/ 3052818 h 6105636"/>
              <a:gd name="connsiteX4" fmla="*/ 6462532 w 6462532"/>
              <a:gd name="connsiteY4" fmla="*/ 3052818 h 6105636"/>
              <a:gd name="connsiteX5" fmla="*/ 3409714 w 6462532"/>
              <a:gd name="connsiteY5" fmla="*/ 6105636 h 6105636"/>
              <a:gd name="connsiteX6" fmla="*/ 3052818 w 6462532"/>
              <a:gd name="connsiteY6" fmla="*/ 6105636 h 6105636"/>
              <a:gd name="connsiteX7" fmla="*/ 0 w 6462532"/>
              <a:gd name="connsiteY7" fmla="*/ 3052818 h 6105636"/>
              <a:gd name="connsiteX0" fmla="*/ 0 w 7309764"/>
              <a:gd name="connsiteY0" fmla="*/ 3052818 h 6105636"/>
              <a:gd name="connsiteX1" fmla="*/ 3052818 w 7309764"/>
              <a:gd name="connsiteY1" fmla="*/ 0 h 6105636"/>
              <a:gd name="connsiteX2" fmla="*/ 6592752 w 7309764"/>
              <a:gd name="connsiteY2" fmla="*/ 46298 h 6105636"/>
              <a:gd name="connsiteX3" fmla="*/ 6462532 w 7309764"/>
              <a:gd name="connsiteY3" fmla="*/ 3052818 h 6105636"/>
              <a:gd name="connsiteX4" fmla="*/ 6462532 w 7309764"/>
              <a:gd name="connsiteY4" fmla="*/ 3052818 h 6105636"/>
              <a:gd name="connsiteX5" fmla="*/ 3409714 w 7309764"/>
              <a:gd name="connsiteY5" fmla="*/ 6105636 h 6105636"/>
              <a:gd name="connsiteX6" fmla="*/ 3052818 w 7309764"/>
              <a:gd name="connsiteY6" fmla="*/ 6105636 h 6105636"/>
              <a:gd name="connsiteX7" fmla="*/ 0 w 7309764"/>
              <a:gd name="connsiteY7" fmla="*/ 3052818 h 6105636"/>
              <a:gd name="connsiteX0" fmla="*/ 0 w 7309764"/>
              <a:gd name="connsiteY0" fmla="*/ 3060215 h 6113033"/>
              <a:gd name="connsiteX1" fmla="*/ 3052818 w 7309764"/>
              <a:gd name="connsiteY1" fmla="*/ 7397 h 6113033"/>
              <a:gd name="connsiteX2" fmla="*/ 6592752 w 7309764"/>
              <a:gd name="connsiteY2" fmla="*/ 53695 h 6113033"/>
              <a:gd name="connsiteX3" fmla="*/ 6462532 w 7309764"/>
              <a:gd name="connsiteY3" fmla="*/ 3060215 h 6113033"/>
              <a:gd name="connsiteX4" fmla="*/ 6462532 w 7309764"/>
              <a:gd name="connsiteY4" fmla="*/ 3060215 h 6113033"/>
              <a:gd name="connsiteX5" fmla="*/ 3409714 w 7309764"/>
              <a:gd name="connsiteY5" fmla="*/ 6113033 h 6113033"/>
              <a:gd name="connsiteX6" fmla="*/ 3052818 w 7309764"/>
              <a:gd name="connsiteY6" fmla="*/ 6113033 h 6113033"/>
              <a:gd name="connsiteX7" fmla="*/ 0 w 7309764"/>
              <a:gd name="connsiteY7" fmla="*/ 3060215 h 6113033"/>
              <a:gd name="connsiteX0" fmla="*/ 0 w 7309764"/>
              <a:gd name="connsiteY0" fmla="*/ 3052818 h 6105636"/>
              <a:gd name="connsiteX1" fmla="*/ 3052818 w 7309764"/>
              <a:gd name="connsiteY1" fmla="*/ 0 h 6105636"/>
              <a:gd name="connsiteX2" fmla="*/ 6592752 w 7309764"/>
              <a:gd name="connsiteY2" fmla="*/ 46298 h 6105636"/>
              <a:gd name="connsiteX3" fmla="*/ 6462532 w 7309764"/>
              <a:gd name="connsiteY3" fmla="*/ 3052818 h 6105636"/>
              <a:gd name="connsiteX4" fmla="*/ 6462532 w 7309764"/>
              <a:gd name="connsiteY4" fmla="*/ 3052818 h 6105636"/>
              <a:gd name="connsiteX5" fmla="*/ 3409714 w 7309764"/>
              <a:gd name="connsiteY5" fmla="*/ 6105636 h 6105636"/>
              <a:gd name="connsiteX6" fmla="*/ 3052818 w 7309764"/>
              <a:gd name="connsiteY6" fmla="*/ 6105636 h 6105636"/>
              <a:gd name="connsiteX7" fmla="*/ 0 w 7309764"/>
              <a:gd name="connsiteY7" fmla="*/ 3052818 h 6105636"/>
              <a:gd name="connsiteX0" fmla="*/ 0 w 7162978"/>
              <a:gd name="connsiteY0" fmla="*/ 3052818 h 6105636"/>
              <a:gd name="connsiteX1" fmla="*/ 3052818 w 7162978"/>
              <a:gd name="connsiteY1" fmla="*/ 0 h 6105636"/>
              <a:gd name="connsiteX2" fmla="*/ 6395982 w 7162978"/>
              <a:gd name="connsiteY2" fmla="*/ 11574 h 6105636"/>
              <a:gd name="connsiteX3" fmla="*/ 6462532 w 7162978"/>
              <a:gd name="connsiteY3" fmla="*/ 3052818 h 6105636"/>
              <a:gd name="connsiteX4" fmla="*/ 6462532 w 7162978"/>
              <a:gd name="connsiteY4" fmla="*/ 3052818 h 6105636"/>
              <a:gd name="connsiteX5" fmla="*/ 3409714 w 7162978"/>
              <a:gd name="connsiteY5" fmla="*/ 6105636 h 6105636"/>
              <a:gd name="connsiteX6" fmla="*/ 3052818 w 7162978"/>
              <a:gd name="connsiteY6" fmla="*/ 6105636 h 6105636"/>
              <a:gd name="connsiteX7" fmla="*/ 0 w 7162978"/>
              <a:gd name="connsiteY7" fmla="*/ 3052818 h 6105636"/>
              <a:gd name="connsiteX0" fmla="*/ 0 w 7162978"/>
              <a:gd name="connsiteY0" fmla="*/ 3052818 h 6105636"/>
              <a:gd name="connsiteX1" fmla="*/ 3052818 w 7162978"/>
              <a:gd name="connsiteY1" fmla="*/ 0 h 6105636"/>
              <a:gd name="connsiteX2" fmla="*/ 6395982 w 7162978"/>
              <a:gd name="connsiteY2" fmla="*/ 11574 h 6105636"/>
              <a:gd name="connsiteX3" fmla="*/ 6462532 w 7162978"/>
              <a:gd name="connsiteY3" fmla="*/ 3052818 h 6105636"/>
              <a:gd name="connsiteX4" fmla="*/ 6462532 w 7162978"/>
              <a:gd name="connsiteY4" fmla="*/ 3052818 h 6105636"/>
              <a:gd name="connsiteX5" fmla="*/ 3409714 w 7162978"/>
              <a:gd name="connsiteY5" fmla="*/ 6105636 h 6105636"/>
              <a:gd name="connsiteX6" fmla="*/ 3052818 w 7162978"/>
              <a:gd name="connsiteY6" fmla="*/ 6105636 h 6105636"/>
              <a:gd name="connsiteX7" fmla="*/ 0 w 7162978"/>
              <a:gd name="connsiteY7" fmla="*/ 3052818 h 6105636"/>
              <a:gd name="connsiteX0" fmla="*/ 0 w 7162978"/>
              <a:gd name="connsiteY0" fmla="*/ 3052818 h 6105636"/>
              <a:gd name="connsiteX1" fmla="*/ 3052818 w 7162978"/>
              <a:gd name="connsiteY1" fmla="*/ 0 h 6105636"/>
              <a:gd name="connsiteX2" fmla="*/ 6395982 w 7162978"/>
              <a:gd name="connsiteY2" fmla="*/ 11574 h 6105636"/>
              <a:gd name="connsiteX3" fmla="*/ 6462532 w 7162978"/>
              <a:gd name="connsiteY3" fmla="*/ 3052818 h 6105636"/>
              <a:gd name="connsiteX4" fmla="*/ 6462532 w 7162978"/>
              <a:gd name="connsiteY4" fmla="*/ 3052818 h 6105636"/>
              <a:gd name="connsiteX5" fmla="*/ 3409714 w 7162978"/>
              <a:gd name="connsiteY5" fmla="*/ 6105636 h 6105636"/>
              <a:gd name="connsiteX6" fmla="*/ 3052818 w 7162978"/>
              <a:gd name="connsiteY6" fmla="*/ 6105636 h 6105636"/>
              <a:gd name="connsiteX7" fmla="*/ 0 w 7162978"/>
              <a:gd name="connsiteY7" fmla="*/ 3052818 h 6105636"/>
              <a:gd name="connsiteX0" fmla="*/ 0 w 7162978"/>
              <a:gd name="connsiteY0" fmla="*/ 3052818 h 6105636"/>
              <a:gd name="connsiteX1" fmla="*/ 3052818 w 7162978"/>
              <a:gd name="connsiteY1" fmla="*/ 0 h 6105636"/>
              <a:gd name="connsiteX2" fmla="*/ 6395982 w 7162978"/>
              <a:gd name="connsiteY2" fmla="*/ 11574 h 6105636"/>
              <a:gd name="connsiteX3" fmla="*/ 6462532 w 7162978"/>
              <a:gd name="connsiteY3" fmla="*/ 3052818 h 6105636"/>
              <a:gd name="connsiteX4" fmla="*/ 6462532 w 7162978"/>
              <a:gd name="connsiteY4" fmla="*/ 3052818 h 6105636"/>
              <a:gd name="connsiteX5" fmla="*/ 3409714 w 7162978"/>
              <a:gd name="connsiteY5" fmla="*/ 6105636 h 6105636"/>
              <a:gd name="connsiteX6" fmla="*/ 3052818 w 7162978"/>
              <a:gd name="connsiteY6" fmla="*/ 6105636 h 6105636"/>
              <a:gd name="connsiteX7" fmla="*/ 0 w 7162978"/>
              <a:gd name="connsiteY7" fmla="*/ 3052818 h 6105636"/>
              <a:gd name="connsiteX0" fmla="*/ 0 w 6750471"/>
              <a:gd name="connsiteY0" fmla="*/ 3052818 h 6105636"/>
              <a:gd name="connsiteX1" fmla="*/ 3052818 w 6750471"/>
              <a:gd name="connsiteY1" fmla="*/ 0 h 6105636"/>
              <a:gd name="connsiteX2" fmla="*/ 6395982 w 6750471"/>
              <a:gd name="connsiteY2" fmla="*/ 11574 h 6105636"/>
              <a:gd name="connsiteX3" fmla="*/ 6462532 w 6750471"/>
              <a:gd name="connsiteY3" fmla="*/ 3052818 h 6105636"/>
              <a:gd name="connsiteX4" fmla="*/ 6462532 w 6750471"/>
              <a:gd name="connsiteY4" fmla="*/ 3052818 h 6105636"/>
              <a:gd name="connsiteX5" fmla="*/ 3409714 w 6750471"/>
              <a:gd name="connsiteY5" fmla="*/ 6105636 h 6105636"/>
              <a:gd name="connsiteX6" fmla="*/ 3052818 w 6750471"/>
              <a:gd name="connsiteY6" fmla="*/ 6105636 h 6105636"/>
              <a:gd name="connsiteX7" fmla="*/ 0 w 6750471"/>
              <a:gd name="connsiteY7" fmla="*/ 3052818 h 6105636"/>
              <a:gd name="connsiteX0" fmla="*/ 0 w 6462532"/>
              <a:gd name="connsiteY0" fmla="*/ 3052818 h 6105636"/>
              <a:gd name="connsiteX1" fmla="*/ 3052818 w 6462532"/>
              <a:gd name="connsiteY1" fmla="*/ 0 h 6105636"/>
              <a:gd name="connsiteX2" fmla="*/ 6395982 w 6462532"/>
              <a:gd name="connsiteY2" fmla="*/ 11574 h 6105636"/>
              <a:gd name="connsiteX3" fmla="*/ 6462532 w 6462532"/>
              <a:gd name="connsiteY3" fmla="*/ 3052818 h 6105636"/>
              <a:gd name="connsiteX4" fmla="*/ 6462532 w 6462532"/>
              <a:gd name="connsiteY4" fmla="*/ 3052818 h 6105636"/>
              <a:gd name="connsiteX5" fmla="*/ 3409714 w 6462532"/>
              <a:gd name="connsiteY5" fmla="*/ 6105636 h 6105636"/>
              <a:gd name="connsiteX6" fmla="*/ 3052818 w 6462532"/>
              <a:gd name="connsiteY6" fmla="*/ 6105636 h 6105636"/>
              <a:gd name="connsiteX7" fmla="*/ 0 w 6462532"/>
              <a:gd name="connsiteY7" fmla="*/ 3052818 h 6105636"/>
              <a:gd name="connsiteX0" fmla="*/ 0 w 6477004"/>
              <a:gd name="connsiteY0" fmla="*/ 3052819 h 6105637"/>
              <a:gd name="connsiteX1" fmla="*/ 3052818 w 6477004"/>
              <a:gd name="connsiteY1" fmla="*/ 1 h 6105637"/>
              <a:gd name="connsiteX2" fmla="*/ 6477004 w 6477004"/>
              <a:gd name="connsiteY2" fmla="*/ 0 h 6105637"/>
              <a:gd name="connsiteX3" fmla="*/ 6462532 w 6477004"/>
              <a:gd name="connsiteY3" fmla="*/ 3052819 h 6105637"/>
              <a:gd name="connsiteX4" fmla="*/ 6462532 w 6477004"/>
              <a:gd name="connsiteY4" fmla="*/ 3052819 h 6105637"/>
              <a:gd name="connsiteX5" fmla="*/ 3409714 w 6477004"/>
              <a:gd name="connsiteY5" fmla="*/ 6105637 h 6105637"/>
              <a:gd name="connsiteX6" fmla="*/ 3052818 w 6477004"/>
              <a:gd name="connsiteY6" fmla="*/ 6105637 h 6105637"/>
              <a:gd name="connsiteX7" fmla="*/ 0 w 6477004"/>
              <a:gd name="connsiteY7" fmla="*/ 3052819 h 6105637"/>
              <a:gd name="connsiteX0" fmla="*/ 0 w 6477004"/>
              <a:gd name="connsiteY0" fmla="*/ 3052819 h 6105637"/>
              <a:gd name="connsiteX1" fmla="*/ 3052818 w 6477004"/>
              <a:gd name="connsiteY1" fmla="*/ 1 h 6105637"/>
              <a:gd name="connsiteX2" fmla="*/ 6477004 w 6477004"/>
              <a:gd name="connsiteY2" fmla="*/ 0 h 6105637"/>
              <a:gd name="connsiteX3" fmla="*/ 6462532 w 6477004"/>
              <a:gd name="connsiteY3" fmla="*/ 3052819 h 6105637"/>
              <a:gd name="connsiteX4" fmla="*/ 5756477 w 6477004"/>
              <a:gd name="connsiteY4" fmla="*/ 3018095 h 6105637"/>
              <a:gd name="connsiteX5" fmla="*/ 3409714 w 6477004"/>
              <a:gd name="connsiteY5" fmla="*/ 6105637 h 6105637"/>
              <a:gd name="connsiteX6" fmla="*/ 3052818 w 6477004"/>
              <a:gd name="connsiteY6" fmla="*/ 6105637 h 6105637"/>
              <a:gd name="connsiteX7" fmla="*/ 0 w 6477004"/>
              <a:gd name="connsiteY7" fmla="*/ 3052819 h 6105637"/>
              <a:gd name="connsiteX0" fmla="*/ 0 w 6477004"/>
              <a:gd name="connsiteY0" fmla="*/ 3052819 h 6105637"/>
              <a:gd name="connsiteX1" fmla="*/ 3052818 w 6477004"/>
              <a:gd name="connsiteY1" fmla="*/ 1 h 6105637"/>
              <a:gd name="connsiteX2" fmla="*/ 6477004 w 6477004"/>
              <a:gd name="connsiteY2" fmla="*/ 0 h 6105637"/>
              <a:gd name="connsiteX3" fmla="*/ 6462532 w 6477004"/>
              <a:gd name="connsiteY3" fmla="*/ 3052819 h 6105637"/>
              <a:gd name="connsiteX4" fmla="*/ 3409714 w 6477004"/>
              <a:gd name="connsiteY4" fmla="*/ 6105637 h 6105637"/>
              <a:gd name="connsiteX5" fmla="*/ 3052818 w 6477004"/>
              <a:gd name="connsiteY5" fmla="*/ 6105637 h 6105637"/>
              <a:gd name="connsiteX6" fmla="*/ 0 w 6477004"/>
              <a:gd name="connsiteY6" fmla="*/ 3052819 h 6105637"/>
              <a:gd name="connsiteX0" fmla="*/ 0 w 6477004"/>
              <a:gd name="connsiteY0" fmla="*/ 3052819 h 6108535"/>
              <a:gd name="connsiteX1" fmla="*/ 3052818 w 6477004"/>
              <a:gd name="connsiteY1" fmla="*/ 1 h 6108535"/>
              <a:gd name="connsiteX2" fmla="*/ 6477004 w 6477004"/>
              <a:gd name="connsiteY2" fmla="*/ 0 h 6108535"/>
              <a:gd name="connsiteX3" fmla="*/ 6462532 w 6477004"/>
              <a:gd name="connsiteY3" fmla="*/ 6108535 h 6108535"/>
              <a:gd name="connsiteX4" fmla="*/ 3409714 w 6477004"/>
              <a:gd name="connsiteY4" fmla="*/ 6105637 h 6108535"/>
              <a:gd name="connsiteX5" fmla="*/ 3052818 w 6477004"/>
              <a:gd name="connsiteY5" fmla="*/ 6105637 h 6108535"/>
              <a:gd name="connsiteX6" fmla="*/ 0 w 6477004"/>
              <a:gd name="connsiteY6" fmla="*/ 3052819 h 6108535"/>
              <a:gd name="connsiteX0" fmla="*/ 0 w 6477004"/>
              <a:gd name="connsiteY0" fmla="*/ 3052819 h 6108535"/>
              <a:gd name="connsiteX1" fmla="*/ 3052818 w 6477004"/>
              <a:gd name="connsiteY1" fmla="*/ 1 h 6108535"/>
              <a:gd name="connsiteX2" fmla="*/ 6477004 w 6477004"/>
              <a:gd name="connsiteY2" fmla="*/ 0 h 6108535"/>
              <a:gd name="connsiteX3" fmla="*/ 6323635 w 6477004"/>
              <a:gd name="connsiteY3" fmla="*/ 6108535 h 6108535"/>
              <a:gd name="connsiteX4" fmla="*/ 3409714 w 6477004"/>
              <a:gd name="connsiteY4" fmla="*/ 6105637 h 6108535"/>
              <a:gd name="connsiteX5" fmla="*/ 3052818 w 6477004"/>
              <a:gd name="connsiteY5" fmla="*/ 6105637 h 6108535"/>
              <a:gd name="connsiteX6" fmla="*/ 0 w 6477004"/>
              <a:gd name="connsiteY6" fmla="*/ 3052819 h 6108535"/>
              <a:gd name="connsiteX0" fmla="*/ 0 w 6326533"/>
              <a:gd name="connsiteY0" fmla="*/ 3052819 h 6108535"/>
              <a:gd name="connsiteX1" fmla="*/ 3052818 w 6326533"/>
              <a:gd name="connsiteY1" fmla="*/ 1 h 6108535"/>
              <a:gd name="connsiteX2" fmla="*/ 6326533 w 6326533"/>
              <a:gd name="connsiteY2" fmla="*/ 0 h 6108535"/>
              <a:gd name="connsiteX3" fmla="*/ 6323635 w 6326533"/>
              <a:gd name="connsiteY3" fmla="*/ 6108535 h 6108535"/>
              <a:gd name="connsiteX4" fmla="*/ 3409714 w 6326533"/>
              <a:gd name="connsiteY4" fmla="*/ 6105637 h 6108535"/>
              <a:gd name="connsiteX5" fmla="*/ 3052818 w 6326533"/>
              <a:gd name="connsiteY5" fmla="*/ 6105637 h 6108535"/>
              <a:gd name="connsiteX6" fmla="*/ 0 w 6326533"/>
              <a:gd name="connsiteY6" fmla="*/ 3052819 h 61085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26533" h="6108535">
                <a:moveTo>
                  <a:pt x="0" y="3052819"/>
                </a:moveTo>
                <a:cubicBezTo>
                  <a:pt x="0" y="1366794"/>
                  <a:pt x="1366793" y="1"/>
                  <a:pt x="3052818" y="1"/>
                </a:cubicBezTo>
                <a:lnTo>
                  <a:pt x="6326533" y="0"/>
                </a:lnTo>
                <a:lnTo>
                  <a:pt x="6323635" y="6108535"/>
                </a:lnTo>
                <a:lnTo>
                  <a:pt x="3409714" y="6105637"/>
                </a:lnTo>
                <a:lnTo>
                  <a:pt x="3052818" y="6105637"/>
                </a:lnTo>
                <a:cubicBezTo>
                  <a:pt x="1366793" y="6105637"/>
                  <a:pt x="0" y="4738844"/>
                  <a:pt x="0" y="3052819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54D449B-5F77-48F2-8C1D-356C9F33240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6047" y="6367253"/>
            <a:ext cx="1468934" cy="117462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E7FA0D55-848A-46DF-9722-7FD5E4193949}"/>
              </a:ext>
            </a:extLst>
          </p:cNvPr>
          <p:cNvSpPr/>
          <p:nvPr/>
        </p:nvSpPr>
        <p:spPr>
          <a:xfrm>
            <a:off x="561754" y="2110246"/>
            <a:ext cx="72900" cy="27071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350">
              <a:solidFill>
                <a:srgbClr val="FFFFFF"/>
              </a:solidFill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68B40A66-C4A7-4370-92F2-F3382E11E6C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6047" y="3835927"/>
            <a:ext cx="3266049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itle of Position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79C782D-AD1D-4D13-ACC3-B57D633277D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6047" y="4094941"/>
            <a:ext cx="3266049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Department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1FAE674-CCEE-4F3D-A20A-9D555487220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96047" y="4349428"/>
            <a:ext cx="3266049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02109D3-F1F3-400D-9EB0-0A42CDD74B6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96047" y="3577406"/>
            <a:ext cx="3266049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</p:txBody>
      </p:sp>
    </p:spTree>
    <p:extLst>
      <p:ext uri="{BB962C8B-B14F-4D97-AF65-F5344CB8AC3E}">
        <p14:creationId xmlns:p14="http://schemas.microsoft.com/office/powerpoint/2010/main" val="50354380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Page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E02383DA-65B3-044E-9E1B-2CC00A0B1CC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6047" y="2303031"/>
            <a:ext cx="5146613" cy="1125969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ts val="2850"/>
              </a:lnSpc>
              <a:defRPr sz="2700" b="1" i="0" baseline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2F9C2FE-7E43-3948-92F0-0CEA804BDBFE}"/>
              </a:ext>
            </a:extLst>
          </p:cNvPr>
          <p:cNvSpPr/>
          <p:nvPr/>
        </p:nvSpPr>
        <p:spPr>
          <a:xfrm>
            <a:off x="561754" y="2110246"/>
            <a:ext cx="72900" cy="27071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350">
              <a:solidFill>
                <a:srgbClr val="FFFFFF"/>
              </a:solidFill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F239D86-1AC3-1D48-9675-22CEFBB263F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6047" y="3835927"/>
            <a:ext cx="5146613" cy="2630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itle of Position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91BF6710-27B9-2444-8317-2C64F0D3084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6047" y="4094941"/>
            <a:ext cx="5146613" cy="2630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Department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669B2D41-B11D-9D45-B189-F838AC342B0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96047" y="4349428"/>
            <a:ext cx="5146613" cy="2630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D7467C81-9D88-4140-B42C-28DFB564647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96047" y="3577406"/>
            <a:ext cx="5146613" cy="2630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6819C41-2A79-B54D-9C44-C619DA694E6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78941" y="6357944"/>
            <a:ext cx="1468934" cy="11746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D2794BD-1A0D-7D48-855D-469111926BF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2887" y="-8600"/>
            <a:ext cx="1688783" cy="1248865"/>
          </a:xfrm>
          <a:prstGeom prst="rect">
            <a:avLst/>
          </a:prstGeom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9909778-A51F-784D-ACA4-EC5DBA48BE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96047" y="6319956"/>
            <a:ext cx="5774753" cy="234001"/>
          </a:xfrm>
        </p:spPr>
        <p:txBody>
          <a:bodyPr tIns="0" rIns="0" bIns="0" anchor="ctr" anchorCtr="0">
            <a:noAutofit/>
          </a:bodyPr>
          <a:lstStyle>
            <a:lvl1pPr marL="0" marR="0" indent="0" algn="l" defTabSz="68561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 sz="600"/>
            </a:lvl1pPr>
            <a:lvl2pPr>
              <a:defRPr sz="6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marL="0" marR="0" lvl="0" indent="0" algn="l" defTabSz="68561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rivate and confidential.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228057069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1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531" y="1102386"/>
            <a:ext cx="8274845" cy="5328857"/>
          </a:xfrm>
          <a:prstGeom prst="rect">
            <a:avLst/>
          </a:prstGeom>
        </p:spPr>
        <p:txBody>
          <a:bodyPr tIns="0" rIns="0" bIns="0" numCol="1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a one-column layout. Click to add content</a:t>
            </a:r>
          </a:p>
        </p:txBody>
      </p:sp>
      <p:sp>
        <p:nvSpPr>
          <p:cNvPr id="19" name="Footer Placeholder 8">
            <a:extLst>
              <a:ext uri="{FF2B5EF4-FFF2-40B4-BE49-F238E27FC236}">
                <a16:creationId xmlns:a16="http://schemas.microsoft.com/office/drawing/2014/main" id="{CDA06C55-0643-C148-AAB1-C4BB26FD7B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24538" y="6523002"/>
            <a:ext cx="3086100" cy="19613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="1" spc="75" baseline="0">
                <a:solidFill>
                  <a:schemeClr val="tx1"/>
                </a:solidFill>
              </a:defRPr>
            </a:lvl1pPr>
          </a:lstStyle>
          <a:p>
            <a:r>
              <a:rPr lang="en-JP"/>
              <a:t> </a:t>
            </a:r>
          </a:p>
        </p:txBody>
      </p:sp>
      <p:sp>
        <p:nvSpPr>
          <p:cNvPr id="22" name="タイトル プレースホルダ 1">
            <a:extLst>
              <a:ext uri="{FF2B5EF4-FFF2-40B4-BE49-F238E27FC236}">
                <a16:creationId xmlns:a16="http://schemas.microsoft.com/office/drawing/2014/main" id="{86D2E5B8-9E2B-DB46-A55A-5F26569C4F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7455190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20" name="スライド番号プレースホルダ 5">
            <a:extLst>
              <a:ext uri="{FF2B5EF4-FFF2-40B4-BE49-F238E27FC236}">
                <a16:creationId xmlns:a16="http://schemas.microsoft.com/office/drawing/2014/main" id="{51A4825E-63A1-564F-BC3A-FBC167ECE5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914108"/>
            <a:fld id="{E9B57936-92EF-4126-AE48-1D9D36D15E98}" type="slidenum">
              <a:rPr lang="ja-JP" altLang="en-US" smtClean="0"/>
              <a:pPr defTabSz="914108"/>
              <a:t>‹#›</a:t>
            </a:fld>
            <a:endParaRPr lang="ja-JP" alt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CF9CDB0-5730-E246-B31F-F5963CF8EFDC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44EB3013-FCB4-1B4E-A9F2-FD57CF727CC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pic>
        <p:nvPicPr>
          <p:cNvPr id="10" name="Picture 9" descr="Takeda">
            <a:extLst>
              <a:ext uri="{FF2B5EF4-FFF2-40B4-BE49-F238E27FC236}">
                <a16:creationId xmlns:a16="http://schemas.microsoft.com/office/drawing/2014/main" id="{837E05AB-D264-42D1-8373-FE63B5E5FE9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3373" y="-1615"/>
            <a:ext cx="1272174" cy="940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92503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2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531" y="1102386"/>
            <a:ext cx="8274845" cy="5328857"/>
          </a:xfrm>
          <a:prstGeom prst="rect">
            <a:avLst/>
          </a:prstGeom>
        </p:spPr>
        <p:txBody>
          <a:bodyPr tIns="0" rIns="0" bIns="0" numCol="2" spcCol="54000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a two-column layout. Click to add content. </a:t>
            </a:r>
          </a:p>
        </p:txBody>
      </p:sp>
      <p:sp>
        <p:nvSpPr>
          <p:cNvPr id="19" name="Footer Placeholder 8">
            <a:extLst>
              <a:ext uri="{FF2B5EF4-FFF2-40B4-BE49-F238E27FC236}">
                <a16:creationId xmlns:a16="http://schemas.microsoft.com/office/drawing/2014/main" id="{CDA06C55-0643-C148-AAB1-C4BB26FD7B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24538" y="6523002"/>
            <a:ext cx="3086100" cy="19613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="1" spc="75" baseline="0">
                <a:solidFill>
                  <a:schemeClr val="tx1"/>
                </a:solidFill>
              </a:defRPr>
            </a:lvl1pPr>
          </a:lstStyle>
          <a:p>
            <a:r>
              <a:rPr lang="en-JP"/>
              <a:t> </a:t>
            </a:r>
          </a:p>
        </p:txBody>
      </p:sp>
      <p:sp>
        <p:nvSpPr>
          <p:cNvPr id="22" name="タイトル プレースホルダ 1">
            <a:extLst>
              <a:ext uri="{FF2B5EF4-FFF2-40B4-BE49-F238E27FC236}">
                <a16:creationId xmlns:a16="http://schemas.microsoft.com/office/drawing/2014/main" id="{86D2E5B8-9E2B-DB46-A55A-5F26569C4F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7455190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Two-column layout. Click to add title</a:t>
            </a:r>
            <a:endParaRPr kumimoji="1" lang="ja-JP" alt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49634AC-7DDA-D44D-88DB-5850289DD643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0" name="スライド番号プレースホルダ 5">
            <a:extLst>
              <a:ext uri="{FF2B5EF4-FFF2-40B4-BE49-F238E27FC236}">
                <a16:creationId xmlns:a16="http://schemas.microsoft.com/office/drawing/2014/main" id="{E22A984C-7436-8C4C-83C8-F2AD675920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914108"/>
            <a:fld id="{E9B57936-92EF-4126-AE48-1D9D36D15E98}" type="slidenum">
              <a:rPr lang="ja-JP" altLang="en-US" smtClean="0"/>
              <a:pPr defTabSz="914108"/>
              <a:t>‹#›</a:t>
            </a:fld>
            <a:endParaRPr lang="ja-JP" altLang="en-US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0A6720AD-4FA4-A146-AEEB-A4E558BAA3E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pic>
        <p:nvPicPr>
          <p:cNvPr id="9" name="Picture 8" descr="Takeda">
            <a:extLst>
              <a:ext uri="{FF2B5EF4-FFF2-40B4-BE49-F238E27FC236}">
                <a16:creationId xmlns:a16="http://schemas.microsoft.com/office/drawing/2014/main" id="{3E969A1B-DAA0-4A49-B59D-DC2DD537D83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3373" y="-1615"/>
            <a:ext cx="1272174" cy="94078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7961B6A8-44B6-E06B-F5CA-6B1C2D28471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7898319" y="6110930"/>
            <a:ext cx="825739" cy="37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84980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D&amp;T Title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E02383DA-65B3-044E-9E1B-2CC00A0B1CC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6047" y="2303031"/>
            <a:ext cx="5146613" cy="1125969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ts val="2850"/>
              </a:lnSpc>
              <a:defRPr sz="2700" b="1" i="0" baseline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2F9C2FE-7E43-3948-92F0-0CEA804BDBFE}"/>
              </a:ext>
            </a:extLst>
          </p:cNvPr>
          <p:cNvSpPr/>
          <p:nvPr/>
        </p:nvSpPr>
        <p:spPr>
          <a:xfrm>
            <a:off x="561754" y="2110246"/>
            <a:ext cx="72900" cy="27071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350">
              <a:solidFill>
                <a:srgbClr val="FFFFFF"/>
              </a:solidFill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F239D86-1AC3-1D48-9675-22CEFBB263F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6047" y="3835927"/>
            <a:ext cx="5146613" cy="2630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itle of Position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91BF6710-27B9-2444-8317-2C64F0D3084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6047" y="4094941"/>
            <a:ext cx="5146613" cy="2630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Department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669B2D41-B11D-9D45-B189-F838AC342B0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96047" y="4349428"/>
            <a:ext cx="5146613" cy="2630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D7467C81-9D88-4140-B42C-28DFB564647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96047" y="3577406"/>
            <a:ext cx="5146613" cy="2630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9909778-A51F-784D-ACA4-EC5DBA48BE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20537" y="6319956"/>
            <a:ext cx="4150262" cy="263075"/>
          </a:xfrm>
        </p:spPr>
        <p:txBody>
          <a:bodyPr tIns="0" rIns="0" bIns="0" anchor="ctr" anchorCtr="0">
            <a:noAutofit/>
          </a:bodyPr>
          <a:lstStyle>
            <a:lvl1pPr marL="0" marR="0" indent="0" algn="l" defTabSz="68561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 sz="600"/>
            </a:lvl1pPr>
            <a:lvl2pPr>
              <a:defRPr sz="6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marL="0" marR="0" lvl="0" indent="0" algn="l" defTabSz="68561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rivate and confidential. For internal use only.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BBC2DDA1-92B9-0A57-AFD3-48E951EAD6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88310" y="6024749"/>
            <a:ext cx="1096129" cy="512479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2F08A84D-36AB-96E8-45C8-4C450393EE3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896047" y="320310"/>
            <a:ext cx="853917" cy="384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2688170"/>
      </p:ext>
    </p:extLst>
  </p:cSld>
  <p:clrMapOvr>
    <a:masterClrMapping/>
  </p:clrMapOvr>
  <p:transition spd="slow">
    <p:push dir="u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2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3A41858-A2E8-4627-87EF-43A6C8E24B41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2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/>
          <a:lstStyle/>
          <a:p>
            <a:pPr algn="ctr"/>
            <a:endParaRPr kumimoji="1" lang="en-US" sz="1350">
              <a:solidFill>
                <a:schemeClr val="bg1"/>
              </a:solidFill>
            </a:endParaRPr>
          </a:p>
        </p:txBody>
      </p:sp>
      <p:sp>
        <p:nvSpPr>
          <p:cNvPr id="20" name="スライド番号プレースホルダ 5">
            <a:extLst>
              <a:ext uri="{FF2B5EF4-FFF2-40B4-BE49-F238E27FC236}">
                <a16:creationId xmlns:a16="http://schemas.microsoft.com/office/drawing/2014/main" id="{E22A984C-7436-8C4C-83C8-F2AD675920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bg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914108"/>
            <a:fld id="{E9B57936-92EF-4126-AE48-1D9D36D15E98}" type="slidenum">
              <a:rPr lang="ja-JP" altLang="en-US" smtClean="0"/>
              <a:pPr defTabSz="914108"/>
              <a:t>‹#›</a:t>
            </a:fld>
            <a:endParaRPr lang="ja-JP" altLang="en-US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0A6720AD-4FA4-A146-AEEB-A4E558BAA3E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bg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pic>
        <p:nvPicPr>
          <p:cNvPr id="9" name="Picture 8" descr="Takeda">
            <a:extLst>
              <a:ext uri="{FF2B5EF4-FFF2-40B4-BE49-F238E27FC236}">
                <a16:creationId xmlns:a16="http://schemas.microsoft.com/office/drawing/2014/main" id="{3E969A1B-DAA0-4A49-B59D-DC2DD537D83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3373" y="-1615"/>
            <a:ext cx="1272174" cy="940780"/>
          </a:xfrm>
          <a:prstGeom prst="rect">
            <a:avLst/>
          </a:prstGeom>
        </p:spPr>
      </p:pic>
      <p:grpSp>
        <p:nvGrpSpPr>
          <p:cNvPr id="11" name="Graphic 1">
            <a:extLst>
              <a:ext uri="{FF2B5EF4-FFF2-40B4-BE49-F238E27FC236}">
                <a16:creationId xmlns:a16="http://schemas.microsoft.com/office/drawing/2014/main" id="{249DFF91-DA4E-3D92-8BE2-7300FE43DEF1}"/>
              </a:ext>
            </a:extLst>
          </p:cNvPr>
          <p:cNvGrpSpPr/>
          <p:nvPr/>
        </p:nvGrpSpPr>
        <p:grpSpPr>
          <a:xfrm>
            <a:off x="7916358" y="6118060"/>
            <a:ext cx="826205" cy="371641"/>
            <a:chOff x="10790978" y="6293801"/>
            <a:chExt cx="1101606" cy="371641"/>
          </a:xfrm>
          <a:solidFill>
            <a:schemeClr val="bg2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9824D1C9-9545-6A49-82CB-9E8C136C441C}"/>
                </a:ext>
              </a:extLst>
            </p:cNvPr>
            <p:cNvSpPr/>
            <p:nvPr/>
          </p:nvSpPr>
          <p:spPr>
            <a:xfrm>
              <a:off x="11589086" y="6301708"/>
              <a:ext cx="303498" cy="354518"/>
            </a:xfrm>
            <a:custGeom>
              <a:avLst/>
              <a:gdLst>
                <a:gd name="connsiteX0" fmla="*/ 0 w 303498"/>
                <a:gd name="connsiteY0" fmla="*/ 0 h 354518"/>
                <a:gd name="connsiteX1" fmla="*/ 30555 w 303498"/>
                <a:gd name="connsiteY1" fmla="*/ 71910 h 354518"/>
                <a:gd name="connsiteX2" fmla="*/ 117496 w 303498"/>
                <a:gd name="connsiteY2" fmla="*/ 71910 h 354518"/>
                <a:gd name="connsiteX3" fmla="*/ 117496 w 303498"/>
                <a:gd name="connsiteY3" fmla="*/ 354519 h 354518"/>
                <a:gd name="connsiteX4" fmla="*/ 195544 w 303498"/>
                <a:gd name="connsiteY4" fmla="*/ 354519 h 354518"/>
                <a:gd name="connsiteX5" fmla="*/ 195544 w 303498"/>
                <a:gd name="connsiteY5" fmla="*/ 71910 h 354518"/>
                <a:gd name="connsiteX6" fmla="*/ 303499 w 303498"/>
                <a:gd name="connsiteY6" fmla="*/ 71910 h 354518"/>
                <a:gd name="connsiteX7" fmla="*/ 303499 w 303498"/>
                <a:gd name="connsiteY7" fmla="*/ 0 h 354518"/>
                <a:gd name="connsiteX8" fmla="*/ 0 w 303498"/>
                <a:gd name="connsiteY8" fmla="*/ 0 h 354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3498" h="354518">
                  <a:moveTo>
                    <a:pt x="0" y="0"/>
                  </a:moveTo>
                  <a:cubicBezTo>
                    <a:pt x="17415" y="19235"/>
                    <a:pt x="28319" y="43882"/>
                    <a:pt x="30555" y="71910"/>
                  </a:cubicBezTo>
                  <a:lnTo>
                    <a:pt x="117496" y="71910"/>
                  </a:lnTo>
                  <a:cubicBezTo>
                    <a:pt x="117496" y="71910"/>
                    <a:pt x="117496" y="354519"/>
                    <a:pt x="117496" y="354519"/>
                  </a:cubicBezTo>
                  <a:lnTo>
                    <a:pt x="195544" y="354519"/>
                  </a:lnTo>
                  <a:cubicBezTo>
                    <a:pt x="195544" y="354519"/>
                    <a:pt x="195544" y="71910"/>
                    <a:pt x="195544" y="71910"/>
                  </a:cubicBezTo>
                  <a:lnTo>
                    <a:pt x="303499" y="71910"/>
                  </a:lnTo>
                  <a:cubicBezTo>
                    <a:pt x="303499" y="71910"/>
                    <a:pt x="303499" y="0"/>
                    <a:pt x="303499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13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ED671E7-FE9E-4009-CF0B-BD3E567FA83B}"/>
                </a:ext>
              </a:extLst>
            </p:cNvPr>
            <p:cNvSpPr/>
            <p:nvPr/>
          </p:nvSpPr>
          <p:spPr>
            <a:xfrm>
              <a:off x="11349211" y="6293801"/>
              <a:ext cx="306171" cy="371641"/>
            </a:xfrm>
            <a:custGeom>
              <a:avLst/>
              <a:gdLst>
                <a:gd name="connsiteX0" fmla="*/ 253306 w 306171"/>
                <a:gd name="connsiteY0" fmla="*/ 278490 h 371641"/>
                <a:gd name="connsiteX1" fmla="*/ 300521 w 306171"/>
                <a:gd name="connsiteY1" fmla="*/ 202725 h 371641"/>
                <a:gd name="connsiteX2" fmla="*/ 242534 w 306171"/>
                <a:gd name="connsiteY2" fmla="*/ 170988 h 371641"/>
                <a:gd name="connsiteX3" fmla="*/ 207639 w 306171"/>
                <a:gd name="connsiteY3" fmla="*/ 232416 h 371641"/>
                <a:gd name="connsiteX4" fmla="*/ 159907 w 306171"/>
                <a:gd name="connsiteY4" fmla="*/ 184811 h 371641"/>
                <a:gd name="connsiteX5" fmla="*/ 235349 w 306171"/>
                <a:gd name="connsiteY5" fmla="*/ 90603 h 371641"/>
                <a:gd name="connsiteX6" fmla="*/ 134262 w 306171"/>
                <a:gd name="connsiteY6" fmla="*/ 0 h 371641"/>
                <a:gd name="connsiteX7" fmla="*/ 26559 w 306171"/>
                <a:gd name="connsiteY7" fmla="*/ 80583 h 371641"/>
                <a:gd name="connsiteX8" fmla="*/ 53051 w 306171"/>
                <a:gd name="connsiteY8" fmla="*/ 184151 h 371641"/>
                <a:gd name="connsiteX9" fmla="*/ 53051 w 306171"/>
                <a:gd name="connsiteY9" fmla="*/ 185167 h 371641"/>
                <a:gd name="connsiteX10" fmla="*/ 0 w 306171"/>
                <a:gd name="connsiteY10" fmla="*/ 325541 h 371641"/>
                <a:gd name="connsiteX11" fmla="*/ 101418 w 306171"/>
                <a:gd name="connsiteY11" fmla="*/ 369608 h 371641"/>
                <a:gd name="connsiteX12" fmla="*/ 206607 w 306171"/>
                <a:gd name="connsiteY12" fmla="*/ 329673 h 371641"/>
                <a:gd name="connsiteX13" fmla="*/ 248185 w 306171"/>
                <a:gd name="connsiteY13" fmla="*/ 371641 h 371641"/>
                <a:gd name="connsiteX14" fmla="*/ 306172 w 306171"/>
                <a:gd name="connsiteY14" fmla="*/ 331204 h 371641"/>
                <a:gd name="connsiteX15" fmla="*/ 253306 w 306171"/>
                <a:gd name="connsiteY15" fmla="*/ 278464 h 371641"/>
                <a:gd name="connsiteX16" fmla="*/ 132727 w 306171"/>
                <a:gd name="connsiteY16" fmla="*/ 61428 h 371641"/>
                <a:gd name="connsiteX17" fmla="*/ 166590 w 306171"/>
                <a:gd name="connsiteY17" fmla="*/ 95224 h 371641"/>
                <a:gd name="connsiteX18" fmla="*/ 118872 w 306171"/>
                <a:gd name="connsiteY18" fmla="*/ 143344 h 371641"/>
                <a:gd name="connsiteX19" fmla="*/ 97832 w 306171"/>
                <a:gd name="connsiteY19" fmla="*/ 98300 h 371641"/>
                <a:gd name="connsiteX20" fmla="*/ 132727 w 306171"/>
                <a:gd name="connsiteY20" fmla="*/ 61428 h 371641"/>
                <a:gd name="connsiteX21" fmla="*/ 110654 w 306171"/>
                <a:gd name="connsiteY21" fmla="*/ 305118 h 371641"/>
                <a:gd name="connsiteX22" fmla="*/ 60369 w 306171"/>
                <a:gd name="connsiteY22" fmla="*/ 262621 h 371641"/>
                <a:gd name="connsiteX23" fmla="*/ 93729 w 306171"/>
                <a:gd name="connsiteY23" fmla="*/ 215003 h 371641"/>
                <a:gd name="connsiteX24" fmla="*/ 162488 w 306171"/>
                <a:gd name="connsiteY24" fmla="*/ 284629 h 371641"/>
                <a:gd name="connsiteX25" fmla="*/ 110654 w 306171"/>
                <a:gd name="connsiteY25" fmla="*/ 305105 h 37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06171" h="371641">
                  <a:moveTo>
                    <a:pt x="253306" y="278490"/>
                  </a:moveTo>
                  <a:cubicBezTo>
                    <a:pt x="271263" y="254423"/>
                    <a:pt x="286666" y="227809"/>
                    <a:pt x="300521" y="202725"/>
                  </a:cubicBezTo>
                  <a:lnTo>
                    <a:pt x="242534" y="170988"/>
                  </a:lnTo>
                  <a:cubicBezTo>
                    <a:pt x="231247" y="193009"/>
                    <a:pt x="219443" y="213986"/>
                    <a:pt x="207639" y="232416"/>
                  </a:cubicBezTo>
                  <a:lnTo>
                    <a:pt x="159907" y="184811"/>
                  </a:lnTo>
                  <a:cubicBezTo>
                    <a:pt x="204556" y="167411"/>
                    <a:pt x="235349" y="139238"/>
                    <a:pt x="235349" y="90603"/>
                  </a:cubicBezTo>
                  <a:cubicBezTo>
                    <a:pt x="235349" y="39407"/>
                    <a:pt x="195319" y="0"/>
                    <a:pt x="134262" y="0"/>
                  </a:cubicBezTo>
                  <a:cubicBezTo>
                    <a:pt x="71630" y="0"/>
                    <a:pt x="33334" y="36820"/>
                    <a:pt x="26559" y="80583"/>
                  </a:cubicBezTo>
                  <a:cubicBezTo>
                    <a:pt x="43841" y="111422"/>
                    <a:pt x="53051" y="146790"/>
                    <a:pt x="53051" y="184151"/>
                  </a:cubicBezTo>
                  <a:lnTo>
                    <a:pt x="53051" y="185167"/>
                  </a:lnTo>
                  <a:cubicBezTo>
                    <a:pt x="53051" y="239954"/>
                    <a:pt x="33334" y="288616"/>
                    <a:pt x="0" y="325541"/>
                  </a:cubicBezTo>
                  <a:cubicBezTo>
                    <a:pt x="21093" y="353568"/>
                    <a:pt x="57841" y="369608"/>
                    <a:pt x="101418" y="369608"/>
                  </a:cubicBezTo>
                  <a:cubicBezTo>
                    <a:pt x="142983" y="369608"/>
                    <a:pt x="177362" y="353740"/>
                    <a:pt x="206607" y="329673"/>
                  </a:cubicBezTo>
                  <a:lnTo>
                    <a:pt x="248185" y="371641"/>
                  </a:lnTo>
                  <a:lnTo>
                    <a:pt x="306172" y="331204"/>
                  </a:lnTo>
                  <a:lnTo>
                    <a:pt x="253306" y="278464"/>
                  </a:lnTo>
                  <a:close/>
                  <a:moveTo>
                    <a:pt x="132727" y="61428"/>
                  </a:moveTo>
                  <a:cubicBezTo>
                    <a:pt x="152735" y="61428"/>
                    <a:pt x="166590" y="73705"/>
                    <a:pt x="166590" y="95224"/>
                  </a:cubicBezTo>
                  <a:cubicBezTo>
                    <a:pt x="166590" y="118261"/>
                    <a:pt x="150168" y="131568"/>
                    <a:pt x="118872" y="143344"/>
                  </a:cubicBezTo>
                  <a:cubicBezTo>
                    <a:pt x="103998" y="126446"/>
                    <a:pt x="97832" y="114670"/>
                    <a:pt x="97832" y="98300"/>
                  </a:cubicBezTo>
                  <a:cubicBezTo>
                    <a:pt x="97832" y="76279"/>
                    <a:pt x="111686" y="61428"/>
                    <a:pt x="132727" y="61428"/>
                  </a:cubicBezTo>
                  <a:close/>
                  <a:moveTo>
                    <a:pt x="110654" y="305118"/>
                  </a:moveTo>
                  <a:cubicBezTo>
                    <a:pt x="81409" y="305118"/>
                    <a:pt x="60369" y="288220"/>
                    <a:pt x="60369" y="262621"/>
                  </a:cubicBezTo>
                  <a:cubicBezTo>
                    <a:pt x="60369" y="244707"/>
                    <a:pt x="70122" y="227294"/>
                    <a:pt x="93729" y="215003"/>
                  </a:cubicBezTo>
                  <a:lnTo>
                    <a:pt x="162488" y="284629"/>
                  </a:lnTo>
                  <a:cubicBezTo>
                    <a:pt x="146066" y="297421"/>
                    <a:pt x="128625" y="305105"/>
                    <a:pt x="110654" y="305105"/>
                  </a:cubicBezTo>
                  <a:close/>
                </a:path>
              </a:pathLst>
            </a:custGeom>
            <a:solidFill>
              <a:schemeClr val="bg2"/>
            </a:solidFill>
            <a:ln w="13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15A9F8C-78E3-2137-7DD8-1A01873010CA}"/>
                </a:ext>
              </a:extLst>
            </p:cNvPr>
            <p:cNvSpPr/>
            <p:nvPr/>
          </p:nvSpPr>
          <p:spPr>
            <a:xfrm>
              <a:off x="11056577" y="6301708"/>
              <a:ext cx="310168" cy="354518"/>
            </a:xfrm>
            <a:custGeom>
              <a:avLst/>
              <a:gdLst>
                <a:gd name="connsiteX0" fmla="*/ 121624 w 310168"/>
                <a:gd name="connsiteY0" fmla="*/ 0 h 354518"/>
                <a:gd name="connsiteX1" fmla="*/ 1098 w 310168"/>
                <a:gd name="connsiteY1" fmla="*/ 0 h 354518"/>
                <a:gd name="connsiteX2" fmla="*/ 33387 w 310168"/>
                <a:gd name="connsiteY2" fmla="*/ 25057 h 354518"/>
                <a:gd name="connsiteX3" fmla="*/ 69023 w 310168"/>
                <a:gd name="connsiteY3" fmla="*/ 70391 h 354518"/>
                <a:gd name="connsiteX4" fmla="*/ 121624 w 310168"/>
                <a:gd name="connsiteY4" fmla="*/ 70391 h 354518"/>
                <a:gd name="connsiteX5" fmla="*/ 228560 w 310168"/>
                <a:gd name="connsiteY5" fmla="*/ 177259 h 354518"/>
                <a:gd name="connsiteX6" fmla="*/ 228560 w 310168"/>
                <a:gd name="connsiteY6" fmla="*/ 178276 h 354518"/>
                <a:gd name="connsiteX7" fmla="*/ 121624 w 310168"/>
                <a:gd name="connsiteY7" fmla="*/ 284127 h 354518"/>
                <a:gd name="connsiteX8" fmla="*/ 68362 w 310168"/>
                <a:gd name="connsiteY8" fmla="*/ 284127 h 354518"/>
                <a:gd name="connsiteX9" fmla="*/ 0 w 310168"/>
                <a:gd name="connsiteY9" fmla="*/ 354519 h 354518"/>
                <a:gd name="connsiteX10" fmla="*/ 121624 w 310168"/>
                <a:gd name="connsiteY10" fmla="*/ 354519 h 354518"/>
                <a:gd name="connsiteX11" fmla="*/ 310168 w 310168"/>
                <a:gd name="connsiteY11" fmla="*/ 177259 h 354518"/>
                <a:gd name="connsiteX12" fmla="*/ 310168 w 310168"/>
                <a:gd name="connsiteY12" fmla="*/ 176243 h 354518"/>
                <a:gd name="connsiteX13" fmla="*/ 121624 w 310168"/>
                <a:gd name="connsiteY13" fmla="*/ 0 h 354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10168" h="354518">
                  <a:moveTo>
                    <a:pt x="121624" y="0"/>
                  </a:moveTo>
                  <a:lnTo>
                    <a:pt x="1098" y="0"/>
                  </a:lnTo>
                  <a:cubicBezTo>
                    <a:pt x="12690" y="7314"/>
                    <a:pt x="23515" y="15657"/>
                    <a:pt x="33387" y="25057"/>
                  </a:cubicBezTo>
                  <a:cubicBezTo>
                    <a:pt x="47546" y="38523"/>
                    <a:pt x="59443" y="53797"/>
                    <a:pt x="69023" y="70391"/>
                  </a:cubicBezTo>
                  <a:lnTo>
                    <a:pt x="121624" y="70391"/>
                  </a:lnTo>
                  <a:cubicBezTo>
                    <a:pt x="185487" y="70391"/>
                    <a:pt x="228560" y="114459"/>
                    <a:pt x="228560" y="177259"/>
                  </a:cubicBezTo>
                  <a:lnTo>
                    <a:pt x="228560" y="178276"/>
                  </a:lnTo>
                  <a:cubicBezTo>
                    <a:pt x="228560" y="241063"/>
                    <a:pt x="185487" y="284127"/>
                    <a:pt x="121624" y="284127"/>
                  </a:cubicBezTo>
                  <a:lnTo>
                    <a:pt x="68362" y="284127"/>
                  </a:lnTo>
                  <a:cubicBezTo>
                    <a:pt x="51675" y="312577"/>
                    <a:pt x="28345" y="336604"/>
                    <a:pt x="0" y="354519"/>
                  </a:cubicBezTo>
                  <a:lnTo>
                    <a:pt x="121624" y="354519"/>
                  </a:lnTo>
                  <a:cubicBezTo>
                    <a:pt x="233126" y="354519"/>
                    <a:pt x="310168" y="277038"/>
                    <a:pt x="310168" y="177259"/>
                  </a:cubicBezTo>
                  <a:lnTo>
                    <a:pt x="310168" y="176243"/>
                  </a:lnTo>
                  <a:cubicBezTo>
                    <a:pt x="310168" y="76477"/>
                    <a:pt x="233139" y="0"/>
                    <a:pt x="121624" y="0"/>
                  </a:cubicBezTo>
                  <a:close/>
                </a:path>
              </a:pathLst>
            </a:custGeom>
            <a:solidFill>
              <a:schemeClr val="bg2"/>
            </a:solidFill>
            <a:ln w="13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6C5BDC2-E75C-8534-876A-86945E1AE1CD}"/>
                </a:ext>
              </a:extLst>
            </p:cNvPr>
            <p:cNvSpPr/>
            <p:nvPr/>
          </p:nvSpPr>
          <p:spPr>
            <a:xfrm>
              <a:off x="10790978" y="6301708"/>
              <a:ext cx="326907" cy="354518"/>
            </a:xfrm>
            <a:custGeom>
              <a:avLst/>
              <a:gdLst>
                <a:gd name="connsiteX0" fmla="*/ 138364 w 326907"/>
                <a:gd name="connsiteY0" fmla="*/ 354519 h 354518"/>
                <a:gd name="connsiteX1" fmla="*/ 0 w 326907"/>
                <a:gd name="connsiteY1" fmla="*/ 354519 h 354518"/>
                <a:gd name="connsiteX2" fmla="*/ 0 w 326907"/>
                <a:gd name="connsiteY2" fmla="*/ 0 h 354518"/>
                <a:gd name="connsiteX3" fmla="*/ 138364 w 326907"/>
                <a:gd name="connsiteY3" fmla="*/ 0 h 354518"/>
                <a:gd name="connsiteX4" fmla="*/ 326908 w 326907"/>
                <a:gd name="connsiteY4" fmla="*/ 176243 h 354518"/>
                <a:gd name="connsiteX5" fmla="*/ 326908 w 326907"/>
                <a:gd name="connsiteY5" fmla="*/ 177259 h 354518"/>
                <a:gd name="connsiteX6" fmla="*/ 138364 w 326907"/>
                <a:gd name="connsiteY6" fmla="*/ 354519 h 354518"/>
                <a:gd name="connsiteX7" fmla="*/ 245300 w 326907"/>
                <a:gd name="connsiteY7" fmla="*/ 177259 h 354518"/>
                <a:gd name="connsiteX8" fmla="*/ 138364 w 326907"/>
                <a:gd name="connsiteY8" fmla="*/ 70391 h 354518"/>
                <a:gd name="connsiteX9" fmla="*/ 78048 w 326907"/>
                <a:gd name="connsiteY9" fmla="*/ 70391 h 354518"/>
                <a:gd name="connsiteX10" fmla="*/ 78048 w 326907"/>
                <a:gd name="connsiteY10" fmla="*/ 284127 h 354518"/>
                <a:gd name="connsiteX11" fmla="*/ 138364 w 326907"/>
                <a:gd name="connsiteY11" fmla="*/ 284127 h 354518"/>
                <a:gd name="connsiteX12" fmla="*/ 245300 w 326907"/>
                <a:gd name="connsiteY12" fmla="*/ 178276 h 354518"/>
                <a:gd name="connsiteX13" fmla="*/ 245300 w 326907"/>
                <a:gd name="connsiteY13" fmla="*/ 177259 h 354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26907" h="354518">
                  <a:moveTo>
                    <a:pt x="138364" y="354519"/>
                  </a:moveTo>
                  <a:lnTo>
                    <a:pt x="0" y="354519"/>
                  </a:lnTo>
                  <a:cubicBezTo>
                    <a:pt x="0" y="354519"/>
                    <a:pt x="0" y="0"/>
                    <a:pt x="0" y="0"/>
                  </a:cubicBezTo>
                  <a:lnTo>
                    <a:pt x="138364" y="0"/>
                  </a:lnTo>
                  <a:cubicBezTo>
                    <a:pt x="249865" y="0"/>
                    <a:pt x="326908" y="76477"/>
                    <a:pt x="326908" y="176243"/>
                  </a:cubicBezTo>
                  <a:lnTo>
                    <a:pt x="326908" y="177259"/>
                  </a:lnTo>
                  <a:cubicBezTo>
                    <a:pt x="326908" y="277038"/>
                    <a:pt x="249865" y="354519"/>
                    <a:pt x="138364" y="354519"/>
                  </a:cubicBezTo>
                  <a:close/>
                  <a:moveTo>
                    <a:pt x="245300" y="177259"/>
                  </a:moveTo>
                  <a:cubicBezTo>
                    <a:pt x="245300" y="114459"/>
                    <a:pt x="202227" y="70391"/>
                    <a:pt x="138364" y="70391"/>
                  </a:cubicBezTo>
                  <a:lnTo>
                    <a:pt x="78048" y="70391"/>
                  </a:lnTo>
                  <a:cubicBezTo>
                    <a:pt x="78048" y="70391"/>
                    <a:pt x="78048" y="284127"/>
                    <a:pt x="78048" y="284127"/>
                  </a:cubicBezTo>
                  <a:lnTo>
                    <a:pt x="138364" y="284127"/>
                  </a:lnTo>
                  <a:cubicBezTo>
                    <a:pt x="202227" y="284127"/>
                    <a:pt x="245300" y="241063"/>
                    <a:pt x="245300" y="178276"/>
                  </a:cubicBezTo>
                  <a:lnTo>
                    <a:pt x="245300" y="177259"/>
                  </a:lnTo>
                  <a:close/>
                </a:path>
              </a:pathLst>
            </a:custGeom>
            <a:solidFill>
              <a:schemeClr val="bg2"/>
            </a:solidFill>
            <a:ln w="13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</p:grpSp>
    </p:spTree>
    <p:extLst>
      <p:ext uri="{BB962C8B-B14F-4D97-AF65-F5344CB8AC3E}">
        <p14:creationId xmlns:p14="http://schemas.microsoft.com/office/powerpoint/2010/main" val="326843249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2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3A41858-A2E8-4627-87EF-43A6C8E24B41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/>
          <a:lstStyle/>
          <a:p>
            <a:pPr algn="ctr"/>
            <a:endParaRPr kumimoji="1" lang="en-US" sz="1350">
              <a:solidFill>
                <a:schemeClr val="bg1"/>
              </a:solidFill>
            </a:endParaRPr>
          </a:p>
        </p:txBody>
      </p:sp>
      <p:sp>
        <p:nvSpPr>
          <p:cNvPr id="20" name="スライド番号プレースホルダ 5">
            <a:extLst>
              <a:ext uri="{FF2B5EF4-FFF2-40B4-BE49-F238E27FC236}">
                <a16:creationId xmlns:a16="http://schemas.microsoft.com/office/drawing/2014/main" id="{E22A984C-7436-8C4C-83C8-F2AD675920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bg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914108"/>
            <a:fld id="{E9B57936-92EF-4126-AE48-1D9D36D15E98}" type="slidenum">
              <a:rPr lang="ja-JP" altLang="en-US" smtClean="0"/>
              <a:pPr defTabSz="914108"/>
              <a:t>‹#›</a:t>
            </a:fld>
            <a:endParaRPr lang="ja-JP" altLang="en-US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0A6720AD-4FA4-A146-AEEB-A4E558BAA3E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bg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pic>
        <p:nvPicPr>
          <p:cNvPr id="9" name="Picture 8" descr="Takeda">
            <a:extLst>
              <a:ext uri="{FF2B5EF4-FFF2-40B4-BE49-F238E27FC236}">
                <a16:creationId xmlns:a16="http://schemas.microsoft.com/office/drawing/2014/main" id="{3E969A1B-DAA0-4A49-B59D-DC2DD537D83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3373" y="-1615"/>
            <a:ext cx="1272174" cy="940780"/>
          </a:xfrm>
          <a:prstGeom prst="rect">
            <a:avLst/>
          </a:prstGeom>
        </p:spPr>
      </p:pic>
      <p:grpSp>
        <p:nvGrpSpPr>
          <p:cNvPr id="2" name="Graphic 1">
            <a:extLst>
              <a:ext uri="{FF2B5EF4-FFF2-40B4-BE49-F238E27FC236}">
                <a16:creationId xmlns:a16="http://schemas.microsoft.com/office/drawing/2014/main" id="{CB1A58AE-430E-F656-480D-66C0C041BE84}"/>
              </a:ext>
            </a:extLst>
          </p:cNvPr>
          <p:cNvGrpSpPr/>
          <p:nvPr/>
        </p:nvGrpSpPr>
        <p:grpSpPr>
          <a:xfrm>
            <a:off x="7916358" y="6118060"/>
            <a:ext cx="826205" cy="371641"/>
            <a:chOff x="10790978" y="6293801"/>
            <a:chExt cx="1101606" cy="371641"/>
          </a:xfrm>
          <a:solidFill>
            <a:schemeClr val="bg2"/>
          </a:solidFill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8D9613EF-CE7A-866D-DF01-DCF21791368A}"/>
                </a:ext>
              </a:extLst>
            </p:cNvPr>
            <p:cNvSpPr/>
            <p:nvPr/>
          </p:nvSpPr>
          <p:spPr>
            <a:xfrm>
              <a:off x="11589086" y="6301708"/>
              <a:ext cx="303498" cy="354518"/>
            </a:xfrm>
            <a:custGeom>
              <a:avLst/>
              <a:gdLst>
                <a:gd name="connsiteX0" fmla="*/ 0 w 303498"/>
                <a:gd name="connsiteY0" fmla="*/ 0 h 354518"/>
                <a:gd name="connsiteX1" fmla="*/ 30555 w 303498"/>
                <a:gd name="connsiteY1" fmla="*/ 71910 h 354518"/>
                <a:gd name="connsiteX2" fmla="*/ 117496 w 303498"/>
                <a:gd name="connsiteY2" fmla="*/ 71910 h 354518"/>
                <a:gd name="connsiteX3" fmla="*/ 117496 w 303498"/>
                <a:gd name="connsiteY3" fmla="*/ 354519 h 354518"/>
                <a:gd name="connsiteX4" fmla="*/ 195544 w 303498"/>
                <a:gd name="connsiteY4" fmla="*/ 354519 h 354518"/>
                <a:gd name="connsiteX5" fmla="*/ 195544 w 303498"/>
                <a:gd name="connsiteY5" fmla="*/ 71910 h 354518"/>
                <a:gd name="connsiteX6" fmla="*/ 303499 w 303498"/>
                <a:gd name="connsiteY6" fmla="*/ 71910 h 354518"/>
                <a:gd name="connsiteX7" fmla="*/ 303499 w 303498"/>
                <a:gd name="connsiteY7" fmla="*/ 0 h 354518"/>
                <a:gd name="connsiteX8" fmla="*/ 0 w 303498"/>
                <a:gd name="connsiteY8" fmla="*/ 0 h 354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3498" h="354518">
                  <a:moveTo>
                    <a:pt x="0" y="0"/>
                  </a:moveTo>
                  <a:cubicBezTo>
                    <a:pt x="17415" y="19235"/>
                    <a:pt x="28319" y="43882"/>
                    <a:pt x="30555" y="71910"/>
                  </a:cubicBezTo>
                  <a:lnTo>
                    <a:pt x="117496" y="71910"/>
                  </a:lnTo>
                  <a:cubicBezTo>
                    <a:pt x="117496" y="71910"/>
                    <a:pt x="117496" y="354519"/>
                    <a:pt x="117496" y="354519"/>
                  </a:cubicBezTo>
                  <a:lnTo>
                    <a:pt x="195544" y="354519"/>
                  </a:lnTo>
                  <a:cubicBezTo>
                    <a:pt x="195544" y="354519"/>
                    <a:pt x="195544" y="71910"/>
                    <a:pt x="195544" y="71910"/>
                  </a:cubicBezTo>
                  <a:lnTo>
                    <a:pt x="303499" y="71910"/>
                  </a:lnTo>
                  <a:cubicBezTo>
                    <a:pt x="303499" y="71910"/>
                    <a:pt x="303499" y="0"/>
                    <a:pt x="303499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13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252E17F0-D10F-DD25-1D2D-002EE5438797}"/>
                </a:ext>
              </a:extLst>
            </p:cNvPr>
            <p:cNvSpPr/>
            <p:nvPr/>
          </p:nvSpPr>
          <p:spPr>
            <a:xfrm>
              <a:off x="11349211" y="6293801"/>
              <a:ext cx="306171" cy="371641"/>
            </a:xfrm>
            <a:custGeom>
              <a:avLst/>
              <a:gdLst>
                <a:gd name="connsiteX0" fmla="*/ 253306 w 306171"/>
                <a:gd name="connsiteY0" fmla="*/ 278490 h 371641"/>
                <a:gd name="connsiteX1" fmla="*/ 300521 w 306171"/>
                <a:gd name="connsiteY1" fmla="*/ 202725 h 371641"/>
                <a:gd name="connsiteX2" fmla="*/ 242534 w 306171"/>
                <a:gd name="connsiteY2" fmla="*/ 170988 h 371641"/>
                <a:gd name="connsiteX3" fmla="*/ 207639 w 306171"/>
                <a:gd name="connsiteY3" fmla="*/ 232416 h 371641"/>
                <a:gd name="connsiteX4" fmla="*/ 159907 w 306171"/>
                <a:gd name="connsiteY4" fmla="*/ 184811 h 371641"/>
                <a:gd name="connsiteX5" fmla="*/ 235349 w 306171"/>
                <a:gd name="connsiteY5" fmla="*/ 90603 h 371641"/>
                <a:gd name="connsiteX6" fmla="*/ 134262 w 306171"/>
                <a:gd name="connsiteY6" fmla="*/ 0 h 371641"/>
                <a:gd name="connsiteX7" fmla="*/ 26559 w 306171"/>
                <a:gd name="connsiteY7" fmla="*/ 80583 h 371641"/>
                <a:gd name="connsiteX8" fmla="*/ 53051 w 306171"/>
                <a:gd name="connsiteY8" fmla="*/ 184151 h 371641"/>
                <a:gd name="connsiteX9" fmla="*/ 53051 w 306171"/>
                <a:gd name="connsiteY9" fmla="*/ 185167 h 371641"/>
                <a:gd name="connsiteX10" fmla="*/ 0 w 306171"/>
                <a:gd name="connsiteY10" fmla="*/ 325541 h 371641"/>
                <a:gd name="connsiteX11" fmla="*/ 101418 w 306171"/>
                <a:gd name="connsiteY11" fmla="*/ 369608 h 371641"/>
                <a:gd name="connsiteX12" fmla="*/ 206607 w 306171"/>
                <a:gd name="connsiteY12" fmla="*/ 329673 h 371641"/>
                <a:gd name="connsiteX13" fmla="*/ 248185 w 306171"/>
                <a:gd name="connsiteY13" fmla="*/ 371641 h 371641"/>
                <a:gd name="connsiteX14" fmla="*/ 306172 w 306171"/>
                <a:gd name="connsiteY14" fmla="*/ 331204 h 371641"/>
                <a:gd name="connsiteX15" fmla="*/ 253306 w 306171"/>
                <a:gd name="connsiteY15" fmla="*/ 278464 h 371641"/>
                <a:gd name="connsiteX16" fmla="*/ 132727 w 306171"/>
                <a:gd name="connsiteY16" fmla="*/ 61428 h 371641"/>
                <a:gd name="connsiteX17" fmla="*/ 166590 w 306171"/>
                <a:gd name="connsiteY17" fmla="*/ 95224 h 371641"/>
                <a:gd name="connsiteX18" fmla="*/ 118872 w 306171"/>
                <a:gd name="connsiteY18" fmla="*/ 143344 h 371641"/>
                <a:gd name="connsiteX19" fmla="*/ 97832 w 306171"/>
                <a:gd name="connsiteY19" fmla="*/ 98300 h 371641"/>
                <a:gd name="connsiteX20" fmla="*/ 132727 w 306171"/>
                <a:gd name="connsiteY20" fmla="*/ 61428 h 371641"/>
                <a:gd name="connsiteX21" fmla="*/ 110654 w 306171"/>
                <a:gd name="connsiteY21" fmla="*/ 305118 h 371641"/>
                <a:gd name="connsiteX22" fmla="*/ 60369 w 306171"/>
                <a:gd name="connsiteY22" fmla="*/ 262621 h 371641"/>
                <a:gd name="connsiteX23" fmla="*/ 93729 w 306171"/>
                <a:gd name="connsiteY23" fmla="*/ 215003 h 371641"/>
                <a:gd name="connsiteX24" fmla="*/ 162488 w 306171"/>
                <a:gd name="connsiteY24" fmla="*/ 284629 h 371641"/>
                <a:gd name="connsiteX25" fmla="*/ 110654 w 306171"/>
                <a:gd name="connsiteY25" fmla="*/ 305105 h 37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06171" h="371641">
                  <a:moveTo>
                    <a:pt x="253306" y="278490"/>
                  </a:moveTo>
                  <a:cubicBezTo>
                    <a:pt x="271263" y="254423"/>
                    <a:pt x="286666" y="227809"/>
                    <a:pt x="300521" y="202725"/>
                  </a:cubicBezTo>
                  <a:lnTo>
                    <a:pt x="242534" y="170988"/>
                  </a:lnTo>
                  <a:cubicBezTo>
                    <a:pt x="231247" y="193009"/>
                    <a:pt x="219443" y="213986"/>
                    <a:pt x="207639" y="232416"/>
                  </a:cubicBezTo>
                  <a:lnTo>
                    <a:pt x="159907" y="184811"/>
                  </a:lnTo>
                  <a:cubicBezTo>
                    <a:pt x="204556" y="167411"/>
                    <a:pt x="235349" y="139238"/>
                    <a:pt x="235349" y="90603"/>
                  </a:cubicBezTo>
                  <a:cubicBezTo>
                    <a:pt x="235349" y="39407"/>
                    <a:pt x="195319" y="0"/>
                    <a:pt x="134262" y="0"/>
                  </a:cubicBezTo>
                  <a:cubicBezTo>
                    <a:pt x="71630" y="0"/>
                    <a:pt x="33334" y="36820"/>
                    <a:pt x="26559" y="80583"/>
                  </a:cubicBezTo>
                  <a:cubicBezTo>
                    <a:pt x="43841" y="111422"/>
                    <a:pt x="53051" y="146790"/>
                    <a:pt x="53051" y="184151"/>
                  </a:cubicBezTo>
                  <a:lnTo>
                    <a:pt x="53051" y="185167"/>
                  </a:lnTo>
                  <a:cubicBezTo>
                    <a:pt x="53051" y="239954"/>
                    <a:pt x="33334" y="288616"/>
                    <a:pt x="0" y="325541"/>
                  </a:cubicBezTo>
                  <a:cubicBezTo>
                    <a:pt x="21093" y="353568"/>
                    <a:pt x="57841" y="369608"/>
                    <a:pt x="101418" y="369608"/>
                  </a:cubicBezTo>
                  <a:cubicBezTo>
                    <a:pt x="142983" y="369608"/>
                    <a:pt x="177362" y="353740"/>
                    <a:pt x="206607" y="329673"/>
                  </a:cubicBezTo>
                  <a:lnTo>
                    <a:pt x="248185" y="371641"/>
                  </a:lnTo>
                  <a:lnTo>
                    <a:pt x="306172" y="331204"/>
                  </a:lnTo>
                  <a:lnTo>
                    <a:pt x="253306" y="278464"/>
                  </a:lnTo>
                  <a:close/>
                  <a:moveTo>
                    <a:pt x="132727" y="61428"/>
                  </a:moveTo>
                  <a:cubicBezTo>
                    <a:pt x="152735" y="61428"/>
                    <a:pt x="166590" y="73705"/>
                    <a:pt x="166590" y="95224"/>
                  </a:cubicBezTo>
                  <a:cubicBezTo>
                    <a:pt x="166590" y="118261"/>
                    <a:pt x="150168" y="131568"/>
                    <a:pt x="118872" y="143344"/>
                  </a:cubicBezTo>
                  <a:cubicBezTo>
                    <a:pt x="103998" y="126446"/>
                    <a:pt x="97832" y="114670"/>
                    <a:pt x="97832" y="98300"/>
                  </a:cubicBezTo>
                  <a:cubicBezTo>
                    <a:pt x="97832" y="76279"/>
                    <a:pt x="111686" y="61428"/>
                    <a:pt x="132727" y="61428"/>
                  </a:cubicBezTo>
                  <a:close/>
                  <a:moveTo>
                    <a:pt x="110654" y="305118"/>
                  </a:moveTo>
                  <a:cubicBezTo>
                    <a:pt x="81409" y="305118"/>
                    <a:pt x="60369" y="288220"/>
                    <a:pt x="60369" y="262621"/>
                  </a:cubicBezTo>
                  <a:cubicBezTo>
                    <a:pt x="60369" y="244707"/>
                    <a:pt x="70122" y="227294"/>
                    <a:pt x="93729" y="215003"/>
                  </a:cubicBezTo>
                  <a:lnTo>
                    <a:pt x="162488" y="284629"/>
                  </a:lnTo>
                  <a:cubicBezTo>
                    <a:pt x="146066" y="297421"/>
                    <a:pt x="128625" y="305105"/>
                    <a:pt x="110654" y="305105"/>
                  </a:cubicBezTo>
                  <a:close/>
                </a:path>
              </a:pathLst>
            </a:custGeom>
            <a:solidFill>
              <a:schemeClr val="bg2"/>
            </a:solidFill>
            <a:ln w="13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94583634-E73D-2E19-1674-A0EFCC8E5075}"/>
                </a:ext>
              </a:extLst>
            </p:cNvPr>
            <p:cNvSpPr/>
            <p:nvPr/>
          </p:nvSpPr>
          <p:spPr>
            <a:xfrm>
              <a:off x="11056577" y="6301708"/>
              <a:ext cx="310168" cy="354518"/>
            </a:xfrm>
            <a:custGeom>
              <a:avLst/>
              <a:gdLst>
                <a:gd name="connsiteX0" fmla="*/ 121624 w 310168"/>
                <a:gd name="connsiteY0" fmla="*/ 0 h 354518"/>
                <a:gd name="connsiteX1" fmla="*/ 1098 w 310168"/>
                <a:gd name="connsiteY1" fmla="*/ 0 h 354518"/>
                <a:gd name="connsiteX2" fmla="*/ 33387 w 310168"/>
                <a:gd name="connsiteY2" fmla="*/ 25057 h 354518"/>
                <a:gd name="connsiteX3" fmla="*/ 69023 w 310168"/>
                <a:gd name="connsiteY3" fmla="*/ 70391 h 354518"/>
                <a:gd name="connsiteX4" fmla="*/ 121624 w 310168"/>
                <a:gd name="connsiteY4" fmla="*/ 70391 h 354518"/>
                <a:gd name="connsiteX5" fmla="*/ 228560 w 310168"/>
                <a:gd name="connsiteY5" fmla="*/ 177259 h 354518"/>
                <a:gd name="connsiteX6" fmla="*/ 228560 w 310168"/>
                <a:gd name="connsiteY6" fmla="*/ 178276 h 354518"/>
                <a:gd name="connsiteX7" fmla="*/ 121624 w 310168"/>
                <a:gd name="connsiteY7" fmla="*/ 284127 h 354518"/>
                <a:gd name="connsiteX8" fmla="*/ 68362 w 310168"/>
                <a:gd name="connsiteY8" fmla="*/ 284127 h 354518"/>
                <a:gd name="connsiteX9" fmla="*/ 0 w 310168"/>
                <a:gd name="connsiteY9" fmla="*/ 354519 h 354518"/>
                <a:gd name="connsiteX10" fmla="*/ 121624 w 310168"/>
                <a:gd name="connsiteY10" fmla="*/ 354519 h 354518"/>
                <a:gd name="connsiteX11" fmla="*/ 310168 w 310168"/>
                <a:gd name="connsiteY11" fmla="*/ 177259 h 354518"/>
                <a:gd name="connsiteX12" fmla="*/ 310168 w 310168"/>
                <a:gd name="connsiteY12" fmla="*/ 176243 h 354518"/>
                <a:gd name="connsiteX13" fmla="*/ 121624 w 310168"/>
                <a:gd name="connsiteY13" fmla="*/ 0 h 354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10168" h="354518">
                  <a:moveTo>
                    <a:pt x="121624" y="0"/>
                  </a:moveTo>
                  <a:lnTo>
                    <a:pt x="1098" y="0"/>
                  </a:lnTo>
                  <a:cubicBezTo>
                    <a:pt x="12690" y="7314"/>
                    <a:pt x="23515" y="15657"/>
                    <a:pt x="33387" y="25057"/>
                  </a:cubicBezTo>
                  <a:cubicBezTo>
                    <a:pt x="47546" y="38523"/>
                    <a:pt x="59443" y="53797"/>
                    <a:pt x="69023" y="70391"/>
                  </a:cubicBezTo>
                  <a:lnTo>
                    <a:pt x="121624" y="70391"/>
                  </a:lnTo>
                  <a:cubicBezTo>
                    <a:pt x="185487" y="70391"/>
                    <a:pt x="228560" y="114459"/>
                    <a:pt x="228560" y="177259"/>
                  </a:cubicBezTo>
                  <a:lnTo>
                    <a:pt x="228560" y="178276"/>
                  </a:lnTo>
                  <a:cubicBezTo>
                    <a:pt x="228560" y="241063"/>
                    <a:pt x="185487" y="284127"/>
                    <a:pt x="121624" y="284127"/>
                  </a:cubicBezTo>
                  <a:lnTo>
                    <a:pt x="68362" y="284127"/>
                  </a:lnTo>
                  <a:cubicBezTo>
                    <a:pt x="51675" y="312577"/>
                    <a:pt x="28345" y="336604"/>
                    <a:pt x="0" y="354519"/>
                  </a:cubicBezTo>
                  <a:lnTo>
                    <a:pt x="121624" y="354519"/>
                  </a:lnTo>
                  <a:cubicBezTo>
                    <a:pt x="233126" y="354519"/>
                    <a:pt x="310168" y="277038"/>
                    <a:pt x="310168" y="177259"/>
                  </a:cubicBezTo>
                  <a:lnTo>
                    <a:pt x="310168" y="176243"/>
                  </a:lnTo>
                  <a:cubicBezTo>
                    <a:pt x="310168" y="76477"/>
                    <a:pt x="233139" y="0"/>
                    <a:pt x="121624" y="0"/>
                  </a:cubicBezTo>
                  <a:close/>
                </a:path>
              </a:pathLst>
            </a:custGeom>
            <a:solidFill>
              <a:schemeClr val="bg2"/>
            </a:solidFill>
            <a:ln w="13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B3B1FEFF-8122-B83D-C96E-33842EB94970}"/>
                </a:ext>
              </a:extLst>
            </p:cNvPr>
            <p:cNvSpPr/>
            <p:nvPr/>
          </p:nvSpPr>
          <p:spPr>
            <a:xfrm>
              <a:off x="10790978" y="6301708"/>
              <a:ext cx="326907" cy="354518"/>
            </a:xfrm>
            <a:custGeom>
              <a:avLst/>
              <a:gdLst>
                <a:gd name="connsiteX0" fmla="*/ 138364 w 326907"/>
                <a:gd name="connsiteY0" fmla="*/ 354519 h 354518"/>
                <a:gd name="connsiteX1" fmla="*/ 0 w 326907"/>
                <a:gd name="connsiteY1" fmla="*/ 354519 h 354518"/>
                <a:gd name="connsiteX2" fmla="*/ 0 w 326907"/>
                <a:gd name="connsiteY2" fmla="*/ 0 h 354518"/>
                <a:gd name="connsiteX3" fmla="*/ 138364 w 326907"/>
                <a:gd name="connsiteY3" fmla="*/ 0 h 354518"/>
                <a:gd name="connsiteX4" fmla="*/ 326908 w 326907"/>
                <a:gd name="connsiteY4" fmla="*/ 176243 h 354518"/>
                <a:gd name="connsiteX5" fmla="*/ 326908 w 326907"/>
                <a:gd name="connsiteY5" fmla="*/ 177259 h 354518"/>
                <a:gd name="connsiteX6" fmla="*/ 138364 w 326907"/>
                <a:gd name="connsiteY6" fmla="*/ 354519 h 354518"/>
                <a:gd name="connsiteX7" fmla="*/ 245300 w 326907"/>
                <a:gd name="connsiteY7" fmla="*/ 177259 h 354518"/>
                <a:gd name="connsiteX8" fmla="*/ 138364 w 326907"/>
                <a:gd name="connsiteY8" fmla="*/ 70391 h 354518"/>
                <a:gd name="connsiteX9" fmla="*/ 78048 w 326907"/>
                <a:gd name="connsiteY9" fmla="*/ 70391 h 354518"/>
                <a:gd name="connsiteX10" fmla="*/ 78048 w 326907"/>
                <a:gd name="connsiteY10" fmla="*/ 284127 h 354518"/>
                <a:gd name="connsiteX11" fmla="*/ 138364 w 326907"/>
                <a:gd name="connsiteY11" fmla="*/ 284127 h 354518"/>
                <a:gd name="connsiteX12" fmla="*/ 245300 w 326907"/>
                <a:gd name="connsiteY12" fmla="*/ 178276 h 354518"/>
                <a:gd name="connsiteX13" fmla="*/ 245300 w 326907"/>
                <a:gd name="connsiteY13" fmla="*/ 177259 h 354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26907" h="354518">
                  <a:moveTo>
                    <a:pt x="138364" y="354519"/>
                  </a:moveTo>
                  <a:lnTo>
                    <a:pt x="0" y="354519"/>
                  </a:lnTo>
                  <a:cubicBezTo>
                    <a:pt x="0" y="354519"/>
                    <a:pt x="0" y="0"/>
                    <a:pt x="0" y="0"/>
                  </a:cubicBezTo>
                  <a:lnTo>
                    <a:pt x="138364" y="0"/>
                  </a:lnTo>
                  <a:cubicBezTo>
                    <a:pt x="249865" y="0"/>
                    <a:pt x="326908" y="76477"/>
                    <a:pt x="326908" y="176243"/>
                  </a:cubicBezTo>
                  <a:lnTo>
                    <a:pt x="326908" y="177259"/>
                  </a:lnTo>
                  <a:cubicBezTo>
                    <a:pt x="326908" y="277038"/>
                    <a:pt x="249865" y="354519"/>
                    <a:pt x="138364" y="354519"/>
                  </a:cubicBezTo>
                  <a:close/>
                  <a:moveTo>
                    <a:pt x="245300" y="177259"/>
                  </a:moveTo>
                  <a:cubicBezTo>
                    <a:pt x="245300" y="114459"/>
                    <a:pt x="202227" y="70391"/>
                    <a:pt x="138364" y="70391"/>
                  </a:cubicBezTo>
                  <a:lnTo>
                    <a:pt x="78048" y="70391"/>
                  </a:lnTo>
                  <a:cubicBezTo>
                    <a:pt x="78048" y="70391"/>
                    <a:pt x="78048" y="284127"/>
                    <a:pt x="78048" y="284127"/>
                  </a:cubicBezTo>
                  <a:lnTo>
                    <a:pt x="138364" y="284127"/>
                  </a:lnTo>
                  <a:cubicBezTo>
                    <a:pt x="202227" y="284127"/>
                    <a:pt x="245300" y="241063"/>
                    <a:pt x="245300" y="178276"/>
                  </a:cubicBezTo>
                  <a:lnTo>
                    <a:pt x="245300" y="177259"/>
                  </a:lnTo>
                  <a:close/>
                </a:path>
              </a:pathLst>
            </a:custGeom>
            <a:solidFill>
              <a:schemeClr val="bg2"/>
            </a:solidFill>
            <a:ln w="13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</p:grpSp>
    </p:spTree>
    <p:extLst>
      <p:ext uri="{BB962C8B-B14F-4D97-AF65-F5344CB8AC3E}">
        <p14:creationId xmlns:p14="http://schemas.microsoft.com/office/powerpoint/2010/main" val="338581412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tandard 2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3A41858-A2E8-4627-87EF-43A6C8E24B41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5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/>
          <a:lstStyle/>
          <a:p>
            <a:pPr algn="ctr"/>
            <a:endParaRPr kumimoji="1" lang="en-US" sz="1350">
              <a:solidFill>
                <a:schemeClr val="bg1"/>
              </a:solidFill>
            </a:endParaRPr>
          </a:p>
        </p:txBody>
      </p:sp>
      <p:sp>
        <p:nvSpPr>
          <p:cNvPr id="20" name="スライド番号プレースホルダ 5">
            <a:extLst>
              <a:ext uri="{FF2B5EF4-FFF2-40B4-BE49-F238E27FC236}">
                <a16:creationId xmlns:a16="http://schemas.microsoft.com/office/drawing/2014/main" id="{E22A984C-7436-8C4C-83C8-F2AD675920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accent3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914108"/>
            <a:fld id="{E9B57936-92EF-4126-AE48-1D9D36D15E98}" type="slidenum">
              <a:rPr lang="ja-JP" altLang="en-US" smtClean="0"/>
              <a:pPr defTabSz="914108"/>
              <a:t>‹#›</a:t>
            </a:fld>
            <a:endParaRPr lang="ja-JP" altLang="en-US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0A6720AD-4FA4-A146-AEEB-A4E558BAA3E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pic>
        <p:nvPicPr>
          <p:cNvPr id="9" name="Picture 8" descr="Takeda">
            <a:extLst>
              <a:ext uri="{FF2B5EF4-FFF2-40B4-BE49-F238E27FC236}">
                <a16:creationId xmlns:a16="http://schemas.microsoft.com/office/drawing/2014/main" id="{3E969A1B-DAA0-4A49-B59D-DC2DD537D83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3373" y="-1615"/>
            <a:ext cx="1272174" cy="94078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27325847-6104-4F21-FC92-3145EC22C94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7898319" y="6110930"/>
            <a:ext cx="825739" cy="37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437350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E02383DA-65B3-044E-9E1B-2CC00A0B1CC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6048" y="2303030"/>
            <a:ext cx="3266048" cy="2279130"/>
          </a:xfrm>
          <a:prstGeom prst="rect">
            <a:avLst/>
          </a:prstGeom>
        </p:spPr>
        <p:txBody>
          <a:bodyPr wrap="square" lIns="0" tIns="0" rIns="0" bIns="0" anchor="ctr" anchorCtr="0">
            <a:normAutofit/>
          </a:bodyPr>
          <a:lstStyle>
            <a:lvl1pPr>
              <a:lnSpc>
                <a:spcPts val="2850"/>
              </a:lnSpc>
              <a:defRPr sz="2700" b="1" i="0" baseline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/>
              <a:t>Click to add section titl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2F9C2FE-7E43-3948-92F0-0CEA804BDBFE}"/>
              </a:ext>
            </a:extLst>
          </p:cNvPr>
          <p:cNvSpPr/>
          <p:nvPr/>
        </p:nvSpPr>
        <p:spPr>
          <a:xfrm>
            <a:off x="561754" y="2110246"/>
            <a:ext cx="72900" cy="27071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350">
              <a:solidFill>
                <a:srgbClr val="FFFFFF"/>
              </a:solidFill>
            </a:endParaRPr>
          </a:p>
        </p:txBody>
      </p:sp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46656F8F-0621-5F47-BF80-4A4E365A2D9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981906" y="-1"/>
            <a:ext cx="4174367" cy="6416675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64472"/>
              <a:gd name="connsiteY0" fmla="*/ 0 h 6630428"/>
              <a:gd name="connsiteX1" fmla="*/ 11864472 w 11864472"/>
              <a:gd name="connsiteY1" fmla="*/ 188353 h 6630428"/>
              <a:gd name="connsiteX2" fmla="*/ 11855613 w 11864472"/>
              <a:gd name="connsiteY2" fmla="*/ 6628774 h 6630428"/>
              <a:gd name="connsiteX3" fmla="*/ 579722 w 11864472"/>
              <a:gd name="connsiteY3" fmla="*/ 6630428 h 6630428"/>
              <a:gd name="connsiteX4" fmla="*/ 0 w 11864472"/>
              <a:gd name="connsiteY4" fmla="*/ 6050706 h 6630428"/>
              <a:gd name="connsiteX5" fmla="*/ 0 w 11864472"/>
              <a:gd name="connsiteY5" fmla="*/ 0 h 6630428"/>
              <a:gd name="connsiteX0" fmla="*/ 0 w 11864472"/>
              <a:gd name="connsiteY0" fmla="*/ 13527 h 6643955"/>
              <a:gd name="connsiteX1" fmla="*/ 11864472 w 11864472"/>
              <a:gd name="connsiteY1" fmla="*/ 0 h 6643955"/>
              <a:gd name="connsiteX2" fmla="*/ 11855613 w 11864472"/>
              <a:gd name="connsiteY2" fmla="*/ 6642301 h 6643955"/>
              <a:gd name="connsiteX3" fmla="*/ 579722 w 11864472"/>
              <a:gd name="connsiteY3" fmla="*/ 6643955 h 6643955"/>
              <a:gd name="connsiteX4" fmla="*/ 0 w 11864472"/>
              <a:gd name="connsiteY4" fmla="*/ 6064233 h 6643955"/>
              <a:gd name="connsiteX5" fmla="*/ 0 w 11864472"/>
              <a:gd name="connsiteY5" fmla="*/ 13527 h 6643955"/>
              <a:gd name="connsiteX0" fmla="*/ 0 w 11864472"/>
              <a:gd name="connsiteY0" fmla="*/ 1319813 h 6643955"/>
              <a:gd name="connsiteX1" fmla="*/ 11864472 w 11864472"/>
              <a:gd name="connsiteY1" fmla="*/ 0 h 6643955"/>
              <a:gd name="connsiteX2" fmla="*/ 11855613 w 11864472"/>
              <a:gd name="connsiteY2" fmla="*/ 6642301 h 6643955"/>
              <a:gd name="connsiteX3" fmla="*/ 579722 w 11864472"/>
              <a:gd name="connsiteY3" fmla="*/ 6643955 h 6643955"/>
              <a:gd name="connsiteX4" fmla="*/ 0 w 11864472"/>
              <a:gd name="connsiteY4" fmla="*/ 6064233 h 6643955"/>
              <a:gd name="connsiteX5" fmla="*/ 0 w 11864472"/>
              <a:gd name="connsiteY5" fmla="*/ 1319813 h 6643955"/>
              <a:gd name="connsiteX0" fmla="*/ 0 w 11864472"/>
              <a:gd name="connsiteY0" fmla="*/ 13527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13527 h 5337669"/>
              <a:gd name="connsiteX0" fmla="*/ 0 w 11864472"/>
              <a:gd name="connsiteY0" fmla="*/ 1652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1652 h 5337669"/>
              <a:gd name="connsiteX0" fmla="*/ 0 w 11864472"/>
              <a:gd name="connsiteY0" fmla="*/ 2201927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2201927 h 5337669"/>
              <a:gd name="connsiteX0" fmla="*/ 0 w 11864472"/>
              <a:gd name="connsiteY0" fmla="*/ 1652 h 3137394"/>
              <a:gd name="connsiteX1" fmla="*/ 11864472 w 11864472"/>
              <a:gd name="connsiteY1" fmla="*/ 0 h 3137394"/>
              <a:gd name="connsiteX2" fmla="*/ 11855613 w 11864472"/>
              <a:gd name="connsiteY2" fmla="*/ 3135740 h 3137394"/>
              <a:gd name="connsiteX3" fmla="*/ 579722 w 11864472"/>
              <a:gd name="connsiteY3" fmla="*/ 3137394 h 3137394"/>
              <a:gd name="connsiteX4" fmla="*/ 0 w 11864472"/>
              <a:gd name="connsiteY4" fmla="*/ 2557672 h 3137394"/>
              <a:gd name="connsiteX5" fmla="*/ 0 w 11864472"/>
              <a:gd name="connsiteY5" fmla="*/ 1652 h 3137394"/>
              <a:gd name="connsiteX0" fmla="*/ 0 w 11864472"/>
              <a:gd name="connsiteY0" fmla="*/ 0 h 3420555"/>
              <a:gd name="connsiteX1" fmla="*/ 11864472 w 11864472"/>
              <a:gd name="connsiteY1" fmla="*/ 283161 h 3420555"/>
              <a:gd name="connsiteX2" fmla="*/ 11855613 w 11864472"/>
              <a:gd name="connsiteY2" fmla="*/ 3418901 h 3420555"/>
              <a:gd name="connsiteX3" fmla="*/ 579722 w 11864472"/>
              <a:gd name="connsiteY3" fmla="*/ 3420555 h 3420555"/>
              <a:gd name="connsiteX4" fmla="*/ 0 w 11864472"/>
              <a:gd name="connsiteY4" fmla="*/ 2840833 h 3420555"/>
              <a:gd name="connsiteX5" fmla="*/ 0 w 11864472"/>
              <a:gd name="connsiteY5" fmla="*/ 0 h 3420555"/>
              <a:gd name="connsiteX0" fmla="*/ 0 w 11864472"/>
              <a:gd name="connsiteY0" fmla="*/ 1652 h 3422207"/>
              <a:gd name="connsiteX1" fmla="*/ 11864472 w 11864472"/>
              <a:gd name="connsiteY1" fmla="*/ 0 h 3422207"/>
              <a:gd name="connsiteX2" fmla="*/ 11855613 w 11864472"/>
              <a:gd name="connsiteY2" fmla="*/ 3420553 h 3422207"/>
              <a:gd name="connsiteX3" fmla="*/ 579722 w 11864472"/>
              <a:gd name="connsiteY3" fmla="*/ 3422207 h 3422207"/>
              <a:gd name="connsiteX4" fmla="*/ 0 w 11864472"/>
              <a:gd name="connsiteY4" fmla="*/ 2842485 h 3422207"/>
              <a:gd name="connsiteX5" fmla="*/ 0 w 11864472"/>
              <a:gd name="connsiteY5" fmla="*/ 1652 h 3422207"/>
              <a:gd name="connsiteX0" fmla="*/ 0 w 11855613"/>
              <a:gd name="connsiteY0" fmla="*/ 0 h 3420555"/>
              <a:gd name="connsiteX1" fmla="*/ 11834492 w 11855613"/>
              <a:gd name="connsiteY1" fmla="*/ 58309 h 3420555"/>
              <a:gd name="connsiteX2" fmla="*/ 11855613 w 11855613"/>
              <a:gd name="connsiteY2" fmla="*/ 3418901 h 3420555"/>
              <a:gd name="connsiteX3" fmla="*/ 579722 w 11855613"/>
              <a:gd name="connsiteY3" fmla="*/ 3420555 h 3420555"/>
              <a:gd name="connsiteX4" fmla="*/ 0 w 11855613"/>
              <a:gd name="connsiteY4" fmla="*/ 2840833 h 3420555"/>
              <a:gd name="connsiteX5" fmla="*/ 0 w 11855613"/>
              <a:gd name="connsiteY5" fmla="*/ 0 h 3420555"/>
              <a:gd name="connsiteX0" fmla="*/ 0 w 11855613"/>
              <a:gd name="connsiteY0" fmla="*/ 1652 h 3362246"/>
              <a:gd name="connsiteX1" fmla="*/ 11834492 w 11855613"/>
              <a:gd name="connsiteY1" fmla="*/ 0 h 3362246"/>
              <a:gd name="connsiteX2" fmla="*/ 11855613 w 11855613"/>
              <a:gd name="connsiteY2" fmla="*/ 3360592 h 3362246"/>
              <a:gd name="connsiteX3" fmla="*/ 579722 w 11855613"/>
              <a:gd name="connsiteY3" fmla="*/ 3362246 h 3362246"/>
              <a:gd name="connsiteX4" fmla="*/ 0 w 11855613"/>
              <a:gd name="connsiteY4" fmla="*/ 2782524 h 3362246"/>
              <a:gd name="connsiteX5" fmla="*/ 0 w 11855613"/>
              <a:gd name="connsiteY5" fmla="*/ 1652 h 3362246"/>
              <a:gd name="connsiteX0" fmla="*/ 0 w 11864473"/>
              <a:gd name="connsiteY0" fmla="*/ 0 h 3360594"/>
              <a:gd name="connsiteX1" fmla="*/ 11864473 w 11864473"/>
              <a:gd name="connsiteY1" fmla="*/ 13338 h 3360594"/>
              <a:gd name="connsiteX2" fmla="*/ 11855613 w 11864473"/>
              <a:gd name="connsiteY2" fmla="*/ 3358940 h 3360594"/>
              <a:gd name="connsiteX3" fmla="*/ 579722 w 11864473"/>
              <a:gd name="connsiteY3" fmla="*/ 3360594 h 3360594"/>
              <a:gd name="connsiteX4" fmla="*/ 0 w 11864473"/>
              <a:gd name="connsiteY4" fmla="*/ 2780872 h 3360594"/>
              <a:gd name="connsiteX5" fmla="*/ 0 w 11864473"/>
              <a:gd name="connsiteY5" fmla="*/ 0 h 3360594"/>
              <a:gd name="connsiteX0" fmla="*/ 0 w 11864473"/>
              <a:gd name="connsiteY0" fmla="*/ 1652 h 3362246"/>
              <a:gd name="connsiteX1" fmla="*/ 11864473 w 11864473"/>
              <a:gd name="connsiteY1" fmla="*/ 0 h 3362246"/>
              <a:gd name="connsiteX2" fmla="*/ 11855613 w 11864473"/>
              <a:gd name="connsiteY2" fmla="*/ 3360592 h 3362246"/>
              <a:gd name="connsiteX3" fmla="*/ 579722 w 11864473"/>
              <a:gd name="connsiteY3" fmla="*/ 3362246 h 3362246"/>
              <a:gd name="connsiteX4" fmla="*/ 0 w 11864473"/>
              <a:gd name="connsiteY4" fmla="*/ 2782524 h 3362246"/>
              <a:gd name="connsiteX5" fmla="*/ 0 w 11864473"/>
              <a:gd name="connsiteY5" fmla="*/ 1652 h 3362246"/>
              <a:gd name="connsiteX0" fmla="*/ 0 w 11855629"/>
              <a:gd name="connsiteY0" fmla="*/ 1652 h 3362246"/>
              <a:gd name="connsiteX1" fmla="*/ 11459359 w 11855629"/>
              <a:gd name="connsiteY1" fmla="*/ 0 h 3362246"/>
              <a:gd name="connsiteX2" fmla="*/ 11855613 w 11855629"/>
              <a:gd name="connsiteY2" fmla="*/ 3360592 h 3362246"/>
              <a:gd name="connsiteX3" fmla="*/ 579722 w 11855629"/>
              <a:gd name="connsiteY3" fmla="*/ 3362246 h 3362246"/>
              <a:gd name="connsiteX4" fmla="*/ 0 w 11855629"/>
              <a:gd name="connsiteY4" fmla="*/ 2782524 h 3362246"/>
              <a:gd name="connsiteX5" fmla="*/ 0 w 11855629"/>
              <a:gd name="connsiteY5" fmla="*/ 1652 h 3362246"/>
              <a:gd name="connsiteX0" fmla="*/ 0 w 11459359"/>
              <a:gd name="connsiteY0" fmla="*/ 1652 h 3362246"/>
              <a:gd name="connsiteX1" fmla="*/ 11459359 w 11459359"/>
              <a:gd name="connsiteY1" fmla="*/ 0 h 3362246"/>
              <a:gd name="connsiteX2" fmla="*/ 11438924 w 11459359"/>
              <a:gd name="connsiteY2" fmla="*/ 3360592 h 3362246"/>
              <a:gd name="connsiteX3" fmla="*/ 579722 w 11459359"/>
              <a:gd name="connsiteY3" fmla="*/ 3362246 h 3362246"/>
              <a:gd name="connsiteX4" fmla="*/ 0 w 11459359"/>
              <a:gd name="connsiteY4" fmla="*/ 2782524 h 3362246"/>
              <a:gd name="connsiteX5" fmla="*/ 0 w 11459359"/>
              <a:gd name="connsiteY5" fmla="*/ 1652 h 3362246"/>
              <a:gd name="connsiteX0" fmla="*/ 0 w 11459359"/>
              <a:gd name="connsiteY0" fmla="*/ 1652 h 3362246"/>
              <a:gd name="connsiteX1" fmla="*/ 11459359 w 11459359"/>
              <a:gd name="connsiteY1" fmla="*/ 0 h 3362246"/>
              <a:gd name="connsiteX2" fmla="*/ 11438924 w 11459359"/>
              <a:gd name="connsiteY2" fmla="*/ 3360592 h 3362246"/>
              <a:gd name="connsiteX3" fmla="*/ 1584742 w 11459359"/>
              <a:gd name="connsiteY3" fmla="*/ 3362246 h 3362246"/>
              <a:gd name="connsiteX4" fmla="*/ 0 w 11459359"/>
              <a:gd name="connsiteY4" fmla="*/ 2782524 h 3362246"/>
              <a:gd name="connsiteX5" fmla="*/ 0 w 11459359"/>
              <a:gd name="connsiteY5" fmla="*/ 1652 h 3362246"/>
              <a:gd name="connsiteX0" fmla="*/ 0 w 11459359"/>
              <a:gd name="connsiteY0" fmla="*/ 1652 h 3360592"/>
              <a:gd name="connsiteX1" fmla="*/ 11459359 w 11459359"/>
              <a:gd name="connsiteY1" fmla="*/ 0 h 3360592"/>
              <a:gd name="connsiteX2" fmla="*/ 11438924 w 11459359"/>
              <a:gd name="connsiteY2" fmla="*/ 3360592 h 3360592"/>
              <a:gd name="connsiteX3" fmla="*/ 1188396 w 11459359"/>
              <a:gd name="connsiteY3" fmla="*/ 3358591 h 3360592"/>
              <a:gd name="connsiteX4" fmla="*/ 0 w 11459359"/>
              <a:gd name="connsiteY4" fmla="*/ 2782524 h 3360592"/>
              <a:gd name="connsiteX5" fmla="*/ 0 w 11459359"/>
              <a:gd name="connsiteY5" fmla="*/ 1652 h 3360592"/>
              <a:gd name="connsiteX0" fmla="*/ 0 w 11459359"/>
              <a:gd name="connsiteY0" fmla="*/ 1652 h 3360592"/>
              <a:gd name="connsiteX1" fmla="*/ 11459359 w 11459359"/>
              <a:gd name="connsiteY1" fmla="*/ 0 h 3360592"/>
              <a:gd name="connsiteX2" fmla="*/ 11438924 w 11459359"/>
              <a:gd name="connsiteY2" fmla="*/ 3360592 h 3360592"/>
              <a:gd name="connsiteX3" fmla="*/ 1188396 w 11459359"/>
              <a:gd name="connsiteY3" fmla="*/ 3358591 h 3360592"/>
              <a:gd name="connsiteX4" fmla="*/ 0 w 11459359"/>
              <a:gd name="connsiteY4" fmla="*/ 2946995 h 3360592"/>
              <a:gd name="connsiteX5" fmla="*/ 0 w 11459359"/>
              <a:gd name="connsiteY5" fmla="*/ 1652 h 3360592"/>
              <a:gd name="connsiteX0" fmla="*/ 0 w 11459359"/>
              <a:gd name="connsiteY0" fmla="*/ 1652 h 3360592"/>
              <a:gd name="connsiteX1" fmla="*/ 11459359 w 11459359"/>
              <a:gd name="connsiteY1" fmla="*/ 0 h 3360592"/>
              <a:gd name="connsiteX2" fmla="*/ 11438924 w 11459359"/>
              <a:gd name="connsiteY2" fmla="*/ 3360592 h 3360592"/>
              <a:gd name="connsiteX3" fmla="*/ 1188396 w 11459359"/>
              <a:gd name="connsiteY3" fmla="*/ 3358591 h 3360592"/>
              <a:gd name="connsiteX4" fmla="*/ 0 w 11459359"/>
              <a:gd name="connsiteY4" fmla="*/ 2946995 h 3360592"/>
              <a:gd name="connsiteX5" fmla="*/ 0 w 11459359"/>
              <a:gd name="connsiteY5" fmla="*/ 1652 h 3360592"/>
              <a:gd name="connsiteX0" fmla="*/ 0 w 11459359"/>
              <a:gd name="connsiteY0" fmla="*/ 1652 h 3360592"/>
              <a:gd name="connsiteX1" fmla="*/ 11459359 w 11459359"/>
              <a:gd name="connsiteY1" fmla="*/ 0 h 3360592"/>
              <a:gd name="connsiteX2" fmla="*/ 11438924 w 11459359"/>
              <a:gd name="connsiteY2" fmla="*/ 3360592 h 3360592"/>
              <a:gd name="connsiteX3" fmla="*/ 1188396 w 11459359"/>
              <a:gd name="connsiteY3" fmla="*/ 3358591 h 3360592"/>
              <a:gd name="connsiteX4" fmla="*/ 0 w 11459359"/>
              <a:gd name="connsiteY4" fmla="*/ 2946995 h 3360592"/>
              <a:gd name="connsiteX5" fmla="*/ 0 w 11459359"/>
              <a:gd name="connsiteY5" fmla="*/ 1652 h 3360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59359" h="3360592">
                <a:moveTo>
                  <a:pt x="0" y="1652"/>
                </a:moveTo>
                <a:lnTo>
                  <a:pt x="11459359" y="0"/>
                </a:lnTo>
                <a:cubicBezTo>
                  <a:pt x="11456406" y="1115201"/>
                  <a:pt x="11441877" y="2245391"/>
                  <a:pt x="11438924" y="3360592"/>
                </a:cubicBezTo>
                <a:lnTo>
                  <a:pt x="1188396" y="3358591"/>
                </a:lnTo>
                <a:cubicBezTo>
                  <a:pt x="848612" y="3356903"/>
                  <a:pt x="0" y="3267167"/>
                  <a:pt x="0" y="2946995"/>
                </a:cubicBezTo>
                <a:lnTo>
                  <a:pt x="0" y="1652"/>
                </a:lnTo>
                <a:close/>
              </a:path>
            </a:pathLst>
          </a:custGeom>
          <a:noFill/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P"/>
          </a:p>
        </p:txBody>
      </p:sp>
    </p:spTree>
    <p:extLst>
      <p:ext uri="{BB962C8B-B14F-4D97-AF65-F5344CB8AC3E}">
        <p14:creationId xmlns:p14="http://schemas.microsoft.com/office/powerpoint/2010/main" val="230223994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2E567768-9A14-E235-50E8-47FDD3150D4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98319" y="6110930"/>
            <a:ext cx="825739" cy="37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23303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A5DA52-BBAF-EA48-AEC6-EA08F428CF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5029" y="371959"/>
            <a:ext cx="8693944" cy="604471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2250"/>
            </a:lvl1pPr>
          </a:lstStyle>
          <a:p>
            <a:pPr lvl="0"/>
            <a:r>
              <a:rPr lang="en-US"/>
              <a:t>Blank slide</a:t>
            </a:r>
            <a:endParaRPr lang="en-JP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0E5ED55-4C1C-E1D5-27F4-F0D33C49D9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98319" y="6110930"/>
            <a:ext cx="825739" cy="37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339246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dvanced 3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925D82-457F-D84D-B8DF-D8ADFD7E71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0531" y="3178298"/>
            <a:ext cx="4074319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35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4558" y="3575905"/>
            <a:ext cx="2676680" cy="2840771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28588" indent="-128588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 sz="1050" b="0">
                <a:solidFill>
                  <a:schemeClr val="tx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ext. 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3BB454FD-9C16-FC47-B46E-6675394572B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23261" y="3575905"/>
            <a:ext cx="2759693" cy="2840771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28588" indent="-128588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 sz="1050" b="0">
                <a:solidFill>
                  <a:schemeClr val="tx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ext. 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568F3A49-7287-1C4D-93C8-50E3C0B4F15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74976" y="3575905"/>
            <a:ext cx="2640400" cy="2840771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28588" indent="-128588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 sz="1050" b="0">
                <a:solidFill>
                  <a:schemeClr val="tx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ext. </a:t>
            </a:r>
          </a:p>
        </p:txBody>
      </p:sp>
      <p:sp>
        <p:nvSpPr>
          <p:cNvPr id="21" name="Footer Placeholder 8">
            <a:extLst>
              <a:ext uri="{FF2B5EF4-FFF2-40B4-BE49-F238E27FC236}">
                <a16:creationId xmlns:a16="http://schemas.microsoft.com/office/drawing/2014/main" id="{519BC59F-4516-0043-8BAC-F9FE45B6A9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24538" y="6523002"/>
            <a:ext cx="30861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600" b="1" spc="75" baseline="0">
                <a:solidFill>
                  <a:schemeClr val="tx1"/>
                </a:solidFill>
              </a:defRPr>
            </a:lvl1pPr>
          </a:lstStyle>
          <a:p>
            <a:r>
              <a:rPr lang="en-JP"/>
              <a:t> </a:t>
            </a:r>
          </a:p>
        </p:txBody>
      </p:sp>
      <p:sp>
        <p:nvSpPr>
          <p:cNvPr id="24" name="タイトル プレースホルダ 1">
            <a:extLst>
              <a:ext uri="{FF2B5EF4-FFF2-40B4-BE49-F238E27FC236}">
                <a16:creationId xmlns:a16="http://schemas.microsoft.com/office/drawing/2014/main" id="{CC986DF6-9894-F144-B9DA-A9DBE0000A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7455190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86528CE-2840-6C44-965A-04D8835743E3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7" name="スライド番号プレースホルダ 5">
            <a:extLst>
              <a:ext uri="{FF2B5EF4-FFF2-40B4-BE49-F238E27FC236}">
                <a16:creationId xmlns:a16="http://schemas.microsoft.com/office/drawing/2014/main" id="{854E474F-30B0-604E-9699-287AC57CAA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914108"/>
            <a:fld id="{E9B57936-92EF-4126-AE48-1D9D36D15E98}" type="slidenum">
              <a:rPr lang="ja-JP" altLang="en-US" smtClean="0"/>
              <a:pPr defTabSz="914108"/>
              <a:t>‹#›</a:t>
            </a:fld>
            <a:endParaRPr lang="ja-JP" altLang="en-US"/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C9681050-C142-4F4F-B3C6-6F52F3C55C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110504E2-40F0-054E-8424-D247EF2CA2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4558" y="1491374"/>
            <a:ext cx="8260817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/>
            </a:lvl1pPr>
            <a:lvl2pPr marL="342801" indent="0">
              <a:buNone/>
              <a:defRPr sz="1350" b="1"/>
            </a:lvl2pPr>
            <a:lvl3pPr marL="685612" indent="0">
              <a:buNone/>
              <a:defRPr sz="1350" b="1"/>
            </a:lvl3pPr>
            <a:lvl4pPr marL="1028414" indent="0">
              <a:buNone/>
              <a:defRPr sz="1350" b="1"/>
            </a:lvl4pPr>
            <a:lvl5pPr marL="1371218" indent="0">
              <a:buNone/>
              <a:defRPr sz="135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073E75F2-7FFB-DC4C-8964-799372FCF58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4558" y="1093767"/>
            <a:ext cx="8260817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50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Primary Title</a:t>
            </a:r>
          </a:p>
        </p:txBody>
      </p:sp>
      <p:pic>
        <p:nvPicPr>
          <p:cNvPr id="15" name="Picture 14" descr="Takeda">
            <a:extLst>
              <a:ext uri="{FF2B5EF4-FFF2-40B4-BE49-F238E27FC236}">
                <a16:creationId xmlns:a16="http://schemas.microsoft.com/office/drawing/2014/main" id="{2DBD11E4-3F45-48F4-AEC8-957BBDFD3C8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3373" y="-1615"/>
            <a:ext cx="1272174" cy="94078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EC481830-46AE-2890-DA79-BB339B3DC6E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7898319" y="6110930"/>
            <a:ext cx="825739" cy="37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464565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dvanced 2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B3311DE3-EC35-4C49-805E-57AB2D90E99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158057" y="1093767"/>
            <a:ext cx="5991267" cy="5322908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33463"/>
              <a:gd name="connsiteX1" fmla="*/ 8912928 w 8915642"/>
              <a:gd name="connsiteY1" fmla="*/ 191388 h 6633463"/>
              <a:gd name="connsiteX2" fmla="*/ 8915642 w 8915642"/>
              <a:gd name="connsiteY2" fmla="*/ 6631809 h 6633463"/>
              <a:gd name="connsiteX3" fmla="*/ 579722 w 8915642"/>
              <a:gd name="connsiteY3" fmla="*/ 6633463 h 6633463"/>
              <a:gd name="connsiteX4" fmla="*/ 0 w 8915642"/>
              <a:gd name="connsiteY4" fmla="*/ 6053741 h 6633463"/>
              <a:gd name="connsiteX5" fmla="*/ 0 w 8915642"/>
              <a:gd name="connsiteY5" fmla="*/ 1 h 6633463"/>
              <a:gd name="connsiteX0" fmla="*/ 0 w 8933278"/>
              <a:gd name="connsiteY0" fmla="*/ 1653 h 6635115"/>
              <a:gd name="connsiteX1" fmla="*/ 8933248 w 8933278"/>
              <a:gd name="connsiteY1" fmla="*/ 0 h 6635115"/>
              <a:gd name="connsiteX2" fmla="*/ 8915642 w 8933278"/>
              <a:gd name="connsiteY2" fmla="*/ 6633461 h 6635115"/>
              <a:gd name="connsiteX3" fmla="*/ 579722 w 8933278"/>
              <a:gd name="connsiteY3" fmla="*/ 6635115 h 6635115"/>
              <a:gd name="connsiteX4" fmla="*/ 0 w 8933278"/>
              <a:gd name="connsiteY4" fmla="*/ 6055393 h 6635115"/>
              <a:gd name="connsiteX5" fmla="*/ 0 w 8933278"/>
              <a:gd name="connsiteY5" fmla="*/ 1653 h 6635115"/>
              <a:gd name="connsiteX0" fmla="*/ 0 w 8933323"/>
              <a:gd name="connsiteY0" fmla="*/ 1653 h 6645336"/>
              <a:gd name="connsiteX1" fmla="*/ 8933248 w 8933323"/>
              <a:gd name="connsiteY1" fmla="*/ 0 h 6645336"/>
              <a:gd name="connsiteX2" fmla="*/ 8927517 w 8933323"/>
              <a:gd name="connsiteY2" fmla="*/ 6645336 h 6645336"/>
              <a:gd name="connsiteX3" fmla="*/ 579722 w 8933323"/>
              <a:gd name="connsiteY3" fmla="*/ 6635115 h 6645336"/>
              <a:gd name="connsiteX4" fmla="*/ 0 w 8933323"/>
              <a:gd name="connsiteY4" fmla="*/ 6055393 h 6645336"/>
              <a:gd name="connsiteX5" fmla="*/ 0 w 8933323"/>
              <a:gd name="connsiteY5" fmla="*/ 1653 h 6645336"/>
              <a:gd name="connsiteX0" fmla="*/ 0 w 8927517"/>
              <a:gd name="connsiteY0" fmla="*/ 1653 h 6645336"/>
              <a:gd name="connsiteX1" fmla="*/ 7971347 w 8927517"/>
              <a:gd name="connsiteY1" fmla="*/ 0 h 6645336"/>
              <a:gd name="connsiteX2" fmla="*/ 8927517 w 8927517"/>
              <a:gd name="connsiteY2" fmla="*/ 6645336 h 6645336"/>
              <a:gd name="connsiteX3" fmla="*/ 579722 w 8927517"/>
              <a:gd name="connsiteY3" fmla="*/ 6635115 h 6645336"/>
              <a:gd name="connsiteX4" fmla="*/ 0 w 8927517"/>
              <a:gd name="connsiteY4" fmla="*/ 6055393 h 6645336"/>
              <a:gd name="connsiteX5" fmla="*/ 0 w 8927517"/>
              <a:gd name="connsiteY5" fmla="*/ 1653 h 6645336"/>
              <a:gd name="connsiteX0" fmla="*/ 0 w 7971422"/>
              <a:gd name="connsiteY0" fmla="*/ 1653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653 h 6645336"/>
              <a:gd name="connsiteX0" fmla="*/ 0 w 7971422"/>
              <a:gd name="connsiteY0" fmla="*/ 1301816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301816 h 6645336"/>
              <a:gd name="connsiteX0" fmla="*/ 0 w 7965616"/>
              <a:gd name="connsiteY0" fmla="*/ 1653 h 5345173"/>
              <a:gd name="connsiteX1" fmla="*/ 7957060 w 7965616"/>
              <a:gd name="connsiteY1" fmla="*/ 0 h 5345173"/>
              <a:gd name="connsiteX2" fmla="*/ 7965616 w 7965616"/>
              <a:gd name="connsiteY2" fmla="*/ 5345173 h 5345173"/>
              <a:gd name="connsiteX3" fmla="*/ 579722 w 7965616"/>
              <a:gd name="connsiteY3" fmla="*/ 5334952 h 5345173"/>
              <a:gd name="connsiteX4" fmla="*/ 0 w 7965616"/>
              <a:gd name="connsiteY4" fmla="*/ 4755230 h 5345173"/>
              <a:gd name="connsiteX5" fmla="*/ 0 w 7965616"/>
              <a:gd name="connsiteY5" fmla="*/ 1653 h 5345173"/>
              <a:gd name="connsiteX0" fmla="*/ 0 w 7971422"/>
              <a:gd name="connsiteY0" fmla="*/ 1653 h 5345173"/>
              <a:gd name="connsiteX1" fmla="*/ 7971347 w 7971422"/>
              <a:gd name="connsiteY1" fmla="*/ 0 h 5345173"/>
              <a:gd name="connsiteX2" fmla="*/ 7965616 w 7971422"/>
              <a:gd name="connsiteY2" fmla="*/ 5345173 h 5345173"/>
              <a:gd name="connsiteX3" fmla="*/ 579722 w 7971422"/>
              <a:gd name="connsiteY3" fmla="*/ 5334952 h 5345173"/>
              <a:gd name="connsiteX4" fmla="*/ 0 w 7971422"/>
              <a:gd name="connsiteY4" fmla="*/ 4755230 h 5345173"/>
              <a:gd name="connsiteX5" fmla="*/ 0 w 7971422"/>
              <a:gd name="connsiteY5" fmla="*/ 1653 h 5345173"/>
              <a:gd name="connsiteX0" fmla="*/ 0 w 7988356"/>
              <a:gd name="connsiteY0" fmla="*/ 187920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187920 h 5345173"/>
              <a:gd name="connsiteX0" fmla="*/ 0 w 7988356"/>
              <a:gd name="connsiteY0" fmla="*/ 210145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210145 h 5345173"/>
              <a:gd name="connsiteX0" fmla="*/ 0 w 7988356"/>
              <a:gd name="connsiteY0" fmla="*/ 0 h 5135028"/>
              <a:gd name="connsiteX1" fmla="*/ 7988281 w 7988356"/>
              <a:gd name="connsiteY1" fmla="*/ 7569 h 5135028"/>
              <a:gd name="connsiteX2" fmla="*/ 7982550 w 7988356"/>
              <a:gd name="connsiteY2" fmla="*/ 5135028 h 5135028"/>
              <a:gd name="connsiteX3" fmla="*/ 596656 w 7988356"/>
              <a:gd name="connsiteY3" fmla="*/ 5124807 h 5135028"/>
              <a:gd name="connsiteX4" fmla="*/ 16934 w 7988356"/>
              <a:gd name="connsiteY4" fmla="*/ 4545085 h 5135028"/>
              <a:gd name="connsiteX5" fmla="*/ 0 w 7988356"/>
              <a:gd name="connsiteY5" fmla="*/ 0 h 5135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88356" h="5135028">
                <a:moveTo>
                  <a:pt x="0" y="0"/>
                </a:moveTo>
                <a:lnTo>
                  <a:pt x="7988281" y="7569"/>
                </a:lnTo>
                <a:cubicBezTo>
                  <a:pt x="7989186" y="2154376"/>
                  <a:pt x="7981645" y="2988221"/>
                  <a:pt x="7982550" y="5135028"/>
                </a:cubicBezTo>
                <a:lnTo>
                  <a:pt x="596656" y="5124807"/>
                </a:lnTo>
                <a:cubicBezTo>
                  <a:pt x="276484" y="5124807"/>
                  <a:pt x="16934" y="4865257"/>
                  <a:pt x="16934" y="4545085"/>
                </a:cubicBezTo>
                <a:cubicBezTo>
                  <a:pt x="11289" y="3022648"/>
                  <a:pt x="5645" y="1522437"/>
                  <a:pt x="0" y="0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JP"/>
              <a:t>Insert Photo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925D82-457F-D84D-B8DF-D8ADFD7E71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0531" y="3178298"/>
            <a:ext cx="2606806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35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4558" y="3575905"/>
            <a:ext cx="2592779" cy="2840771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28588" indent="-128588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 sz="1050" b="0">
                <a:solidFill>
                  <a:schemeClr val="tx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ext. </a:t>
            </a:r>
          </a:p>
        </p:txBody>
      </p:sp>
      <p:sp>
        <p:nvSpPr>
          <p:cNvPr id="20" name="Footer Placeholder 8">
            <a:extLst>
              <a:ext uri="{FF2B5EF4-FFF2-40B4-BE49-F238E27FC236}">
                <a16:creationId xmlns:a16="http://schemas.microsoft.com/office/drawing/2014/main" id="{E4ACE247-6DA5-F044-A880-12BDFE1490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24538" y="6523002"/>
            <a:ext cx="30861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600" b="1" spc="75" baseline="0">
                <a:solidFill>
                  <a:schemeClr val="tx1"/>
                </a:solidFill>
              </a:defRPr>
            </a:lvl1pPr>
          </a:lstStyle>
          <a:p>
            <a:r>
              <a:rPr lang="en-JP"/>
              <a:t> </a:t>
            </a:r>
          </a:p>
        </p:txBody>
      </p:sp>
      <p:sp>
        <p:nvSpPr>
          <p:cNvPr id="22" name="タイトル プレースホルダ 1">
            <a:extLst>
              <a:ext uri="{FF2B5EF4-FFF2-40B4-BE49-F238E27FC236}">
                <a16:creationId xmlns:a16="http://schemas.microsoft.com/office/drawing/2014/main" id="{1545CFCD-ABA6-1349-9917-1DDD2762CB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7455190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7730F84-B57E-C441-B81C-A0677388FA64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5" name="スライド番号プレースホルダ 5">
            <a:extLst>
              <a:ext uri="{FF2B5EF4-FFF2-40B4-BE49-F238E27FC236}">
                <a16:creationId xmlns:a16="http://schemas.microsoft.com/office/drawing/2014/main" id="{78815F79-70B9-A343-88C1-1B41F15106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914108"/>
            <a:fld id="{E9B57936-92EF-4126-AE48-1D9D36D15E98}" type="slidenum">
              <a:rPr lang="ja-JP" altLang="en-US" smtClean="0"/>
              <a:pPr defTabSz="914108"/>
              <a:t>‹#›</a:t>
            </a:fld>
            <a:endParaRPr lang="ja-JP" altLang="en-US"/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6ACFB15D-3880-FB46-8B5A-E057FE4C9B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F3CD883-F623-E54C-A27A-38B7EB95705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0532" y="1491374"/>
            <a:ext cx="2606806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/>
            </a:lvl1pPr>
            <a:lvl2pPr marL="342801" indent="0">
              <a:buNone/>
              <a:defRPr sz="1350" b="1"/>
            </a:lvl2pPr>
            <a:lvl3pPr marL="685612" indent="0">
              <a:buNone/>
              <a:defRPr sz="1350" b="1"/>
            </a:lvl3pPr>
            <a:lvl4pPr marL="1028414" indent="0">
              <a:buNone/>
              <a:defRPr sz="1350" b="1"/>
            </a:lvl4pPr>
            <a:lvl5pPr marL="1371218" indent="0">
              <a:buNone/>
              <a:defRPr sz="135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B2D601E3-CC68-7845-AAF4-3AD141198B4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4559" y="1093767"/>
            <a:ext cx="2592778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50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Primary Title</a:t>
            </a:r>
          </a:p>
        </p:txBody>
      </p:sp>
      <p:pic>
        <p:nvPicPr>
          <p:cNvPr id="15" name="Picture 14" descr="Takeda">
            <a:extLst>
              <a:ext uri="{FF2B5EF4-FFF2-40B4-BE49-F238E27FC236}">
                <a16:creationId xmlns:a16="http://schemas.microsoft.com/office/drawing/2014/main" id="{BC016027-1704-4EC4-A0A9-C142437F7E5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3373" y="-1615"/>
            <a:ext cx="1272174" cy="94078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D300A406-3F3E-C585-6949-A34A87279C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7898319" y="6110930"/>
            <a:ext cx="825739" cy="37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914906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dvanced 1/2 Image (Full Ble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DA0F537B-2380-C640-8119-936AD77864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639091" y="-5494"/>
            <a:ext cx="4518288" cy="6863494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33463"/>
              <a:gd name="connsiteX1" fmla="*/ 8912928 w 8915642"/>
              <a:gd name="connsiteY1" fmla="*/ 191388 h 6633463"/>
              <a:gd name="connsiteX2" fmla="*/ 8915642 w 8915642"/>
              <a:gd name="connsiteY2" fmla="*/ 6631809 h 6633463"/>
              <a:gd name="connsiteX3" fmla="*/ 579722 w 8915642"/>
              <a:gd name="connsiteY3" fmla="*/ 6633463 h 6633463"/>
              <a:gd name="connsiteX4" fmla="*/ 0 w 8915642"/>
              <a:gd name="connsiteY4" fmla="*/ 6053741 h 6633463"/>
              <a:gd name="connsiteX5" fmla="*/ 0 w 8915642"/>
              <a:gd name="connsiteY5" fmla="*/ 1 h 6633463"/>
              <a:gd name="connsiteX0" fmla="*/ 0 w 8933278"/>
              <a:gd name="connsiteY0" fmla="*/ 1653 h 6635115"/>
              <a:gd name="connsiteX1" fmla="*/ 8933248 w 8933278"/>
              <a:gd name="connsiteY1" fmla="*/ 0 h 6635115"/>
              <a:gd name="connsiteX2" fmla="*/ 8915642 w 8933278"/>
              <a:gd name="connsiteY2" fmla="*/ 6633461 h 6635115"/>
              <a:gd name="connsiteX3" fmla="*/ 579722 w 8933278"/>
              <a:gd name="connsiteY3" fmla="*/ 6635115 h 6635115"/>
              <a:gd name="connsiteX4" fmla="*/ 0 w 8933278"/>
              <a:gd name="connsiteY4" fmla="*/ 6055393 h 6635115"/>
              <a:gd name="connsiteX5" fmla="*/ 0 w 8933278"/>
              <a:gd name="connsiteY5" fmla="*/ 1653 h 6635115"/>
              <a:gd name="connsiteX0" fmla="*/ 0 w 8933323"/>
              <a:gd name="connsiteY0" fmla="*/ 1653 h 6645336"/>
              <a:gd name="connsiteX1" fmla="*/ 8933248 w 8933323"/>
              <a:gd name="connsiteY1" fmla="*/ 0 h 6645336"/>
              <a:gd name="connsiteX2" fmla="*/ 8927517 w 8933323"/>
              <a:gd name="connsiteY2" fmla="*/ 6645336 h 6645336"/>
              <a:gd name="connsiteX3" fmla="*/ 579722 w 8933323"/>
              <a:gd name="connsiteY3" fmla="*/ 6635115 h 6645336"/>
              <a:gd name="connsiteX4" fmla="*/ 0 w 8933323"/>
              <a:gd name="connsiteY4" fmla="*/ 6055393 h 6645336"/>
              <a:gd name="connsiteX5" fmla="*/ 0 w 8933323"/>
              <a:gd name="connsiteY5" fmla="*/ 1653 h 6645336"/>
              <a:gd name="connsiteX0" fmla="*/ 0 w 8927517"/>
              <a:gd name="connsiteY0" fmla="*/ 1653 h 6645336"/>
              <a:gd name="connsiteX1" fmla="*/ 7971347 w 8927517"/>
              <a:gd name="connsiteY1" fmla="*/ 0 h 6645336"/>
              <a:gd name="connsiteX2" fmla="*/ 8927517 w 8927517"/>
              <a:gd name="connsiteY2" fmla="*/ 6645336 h 6645336"/>
              <a:gd name="connsiteX3" fmla="*/ 579722 w 8927517"/>
              <a:gd name="connsiteY3" fmla="*/ 6635115 h 6645336"/>
              <a:gd name="connsiteX4" fmla="*/ 0 w 8927517"/>
              <a:gd name="connsiteY4" fmla="*/ 6055393 h 6645336"/>
              <a:gd name="connsiteX5" fmla="*/ 0 w 8927517"/>
              <a:gd name="connsiteY5" fmla="*/ 1653 h 6645336"/>
              <a:gd name="connsiteX0" fmla="*/ 0 w 7971422"/>
              <a:gd name="connsiteY0" fmla="*/ 1653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653 h 6645336"/>
              <a:gd name="connsiteX0" fmla="*/ 0 w 7971422"/>
              <a:gd name="connsiteY0" fmla="*/ 1301816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301816 h 6645336"/>
              <a:gd name="connsiteX0" fmla="*/ 0 w 7965616"/>
              <a:gd name="connsiteY0" fmla="*/ 1653 h 5345173"/>
              <a:gd name="connsiteX1" fmla="*/ 7957060 w 7965616"/>
              <a:gd name="connsiteY1" fmla="*/ 0 h 5345173"/>
              <a:gd name="connsiteX2" fmla="*/ 7965616 w 7965616"/>
              <a:gd name="connsiteY2" fmla="*/ 5345173 h 5345173"/>
              <a:gd name="connsiteX3" fmla="*/ 579722 w 7965616"/>
              <a:gd name="connsiteY3" fmla="*/ 5334952 h 5345173"/>
              <a:gd name="connsiteX4" fmla="*/ 0 w 7965616"/>
              <a:gd name="connsiteY4" fmla="*/ 4755230 h 5345173"/>
              <a:gd name="connsiteX5" fmla="*/ 0 w 7965616"/>
              <a:gd name="connsiteY5" fmla="*/ 1653 h 5345173"/>
              <a:gd name="connsiteX0" fmla="*/ 0 w 7971422"/>
              <a:gd name="connsiteY0" fmla="*/ 1653 h 5345173"/>
              <a:gd name="connsiteX1" fmla="*/ 7971347 w 7971422"/>
              <a:gd name="connsiteY1" fmla="*/ 0 h 5345173"/>
              <a:gd name="connsiteX2" fmla="*/ 7965616 w 7971422"/>
              <a:gd name="connsiteY2" fmla="*/ 5345173 h 5345173"/>
              <a:gd name="connsiteX3" fmla="*/ 579722 w 7971422"/>
              <a:gd name="connsiteY3" fmla="*/ 5334952 h 5345173"/>
              <a:gd name="connsiteX4" fmla="*/ 0 w 7971422"/>
              <a:gd name="connsiteY4" fmla="*/ 4755230 h 5345173"/>
              <a:gd name="connsiteX5" fmla="*/ 0 w 7971422"/>
              <a:gd name="connsiteY5" fmla="*/ 1653 h 5345173"/>
              <a:gd name="connsiteX0" fmla="*/ 0 w 7988356"/>
              <a:gd name="connsiteY0" fmla="*/ 187920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187920 h 5345173"/>
              <a:gd name="connsiteX0" fmla="*/ 0 w 7988356"/>
              <a:gd name="connsiteY0" fmla="*/ 210145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210145 h 5345173"/>
              <a:gd name="connsiteX0" fmla="*/ 0 w 7988356"/>
              <a:gd name="connsiteY0" fmla="*/ 0 h 5135028"/>
              <a:gd name="connsiteX1" fmla="*/ 7988281 w 7988356"/>
              <a:gd name="connsiteY1" fmla="*/ 7569 h 5135028"/>
              <a:gd name="connsiteX2" fmla="*/ 7982550 w 7988356"/>
              <a:gd name="connsiteY2" fmla="*/ 5135028 h 5135028"/>
              <a:gd name="connsiteX3" fmla="*/ 596656 w 7988356"/>
              <a:gd name="connsiteY3" fmla="*/ 5124807 h 5135028"/>
              <a:gd name="connsiteX4" fmla="*/ 16934 w 7988356"/>
              <a:gd name="connsiteY4" fmla="*/ 4545085 h 5135028"/>
              <a:gd name="connsiteX5" fmla="*/ 0 w 7988356"/>
              <a:gd name="connsiteY5" fmla="*/ 0 h 5135028"/>
              <a:gd name="connsiteX0" fmla="*/ 0 w 7982550"/>
              <a:gd name="connsiteY0" fmla="*/ 0 h 5135028"/>
              <a:gd name="connsiteX1" fmla="*/ 6028853 w 7982550"/>
              <a:gd name="connsiteY1" fmla="*/ 7569 h 5135028"/>
              <a:gd name="connsiteX2" fmla="*/ 7982550 w 7982550"/>
              <a:gd name="connsiteY2" fmla="*/ 5135028 h 5135028"/>
              <a:gd name="connsiteX3" fmla="*/ 596656 w 7982550"/>
              <a:gd name="connsiteY3" fmla="*/ 5124807 h 5135028"/>
              <a:gd name="connsiteX4" fmla="*/ 16934 w 7982550"/>
              <a:gd name="connsiteY4" fmla="*/ 4545085 h 5135028"/>
              <a:gd name="connsiteX5" fmla="*/ 0 w 7982550"/>
              <a:gd name="connsiteY5" fmla="*/ 0 h 5135028"/>
              <a:gd name="connsiteX0" fmla="*/ 0 w 6037636"/>
              <a:gd name="connsiteY0" fmla="*/ 0 h 5135028"/>
              <a:gd name="connsiteX1" fmla="*/ 6028853 w 6037636"/>
              <a:gd name="connsiteY1" fmla="*/ 7569 h 5135028"/>
              <a:gd name="connsiteX2" fmla="*/ 6037636 w 6037636"/>
              <a:gd name="connsiteY2" fmla="*/ 5135028 h 5135028"/>
              <a:gd name="connsiteX3" fmla="*/ 596656 w 6037636"/>
              <a:gd name="connsiteY3" fmla="*/ 5124807 h 5135028"/>
              <a:gd name="connsiteX4" fmla="*/ 16934 w 6037636"/>
              <a:gd name="connsiteY4" fmla="*/ 4545085 h 5135028"/>
              <a:gd name="connsiteX5" fmla="*/ 0 w 6037636"/>
              <a:gd name="connsiteY5" fmla="*/ 0 h 5135028"/>
              <a:gd name="connsiteX0" fmla="*/ 0 w 6024384"/>
              <a:gd name="connsiteY0" fmla="*/ 0 h 6857810"/>
              <a:gd name="connsiteX1" fmla="*/ 6015601 w 6024384"/>
              <a:gd name="connsiteY1" fmla="*/ 1730351 h 6857810"/>
              <a:gd name="connsiteX2" fmla="*/ 6024384 w 6024384"/>
              <a:gd name="connsiteY2" fmla="*/ 6857810 h 6857810"/>
              <a:gd name="connsiteX3" fmla="*/ 583404 w 6024384"/>
              <a:gd name="connsiteY3" fmla="*/ 6847589 h 6857810"/>
              <a:gd name="connsiteX4" fmla="*/ 3682 w 6024384"/>
              <a:gd name="connsiteY4" fmla="*/ 6267867 h 6857810"/>
              <a:gd name="connsiteX5" fmla="*/ 0 w 6024384"/>
              <a:gd name="connsiteY5" fmla="*/ 0 h 6857810"/>
              <a:gd name="connsiteX0" fmla="*/ 0 w 6024384"/>
              <a:gd name="connsiteY0" fmla="*/ 5684 h 6863494"/>
              <a:gd name="connsiteX1" fmla="*/ 6002349 w 6024384"/>
              <a:gd name="connsiteY1" fmla="*/ 0 h 6863494"/>
              <a:gd name="connsiteX2" fmla="*/ 6024384 w 6024384"/>
              <a:gd name="connsiteY2" fmla="*/ 6863494 h 6863494"/>
              <a:gd name="connsiteX3" fmla="*/ 583404 w 6024384"/>
              <a:gd name="connsiteY3" fmla="*/ 6853273 h 6863494"/>
              <a:gd name="connsiteX4" fmla="*/ 3682 w 6024384"/>
              <a:gd name="connsiteY4" fmla="*/ 6273551 h 6863494"/>
              <a:gd name="connsiteX5" fmla="*/ 0 w 6024384"/>
              <a:gd name="connsiteY5" fmla="*/ 5684 h 6863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24384" h="6863494">
                <a:moveTo>
                  <a:pt x="0" y="5684"/>
                </a:moveTo>
                <a:lnTo>
                  <a:pt x="6002349" y="0"/>
                </a:lnTo>
                <a:cubicBezTo>
                  <a:pt x="6003254" y="2146807"/>
                  <a:pt x="6023479" y="4716687"/>
                  <a:pt x="6024384" y="6863494"/>
                </a:cubicBezTo>
                <a:lnTo>
                  <a:pt x="583404" y="6853273"/>
                </a:lnTo>
                <a:cubicBezTo>
                  <a:pt x="263232" y="6853273"/>
                  <a:pt x="3682" y="6593723"/>
                  <a:pt x="3682" y="6273551"/>
                </a:cubicBezTo>
                <a:cubicBezTo>
                  <a:pt x="-1963" y="4751114"/>
                  <a:pt x="5645" y="1528121"/>
                  <a:pt x="0" y="5684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JP"/>
              <a:t>Insert Photo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925D82-457F-D84D-B8DF-D8ADFD7E71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4558" y="3178298"/>
            <a:ext cx="4060292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35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4558" y="3575904"/>
            <a:ext cx="4060292" cy="2859620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28588" indent="-128588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 sz="1050" b="0">
                <a:solidFill>
                  <a:schemeClr val="tx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ext. </a:t>
            </a:r>
          </a:p>
        </p:txBody>
      </p:sp>
      <p:sp>
        <p:nvSpPr>
          <p:cNvPr id="17" name="タイトル プレースホルダ 1">
            <a:extLst>
              <a:ext uri="{FF2B5EF4-FFF2-40B4-BE49-F238E27FC236}">
                <a16:creationId xmlns:a16="http://schemas.microsoft.com/office/drawing/2014/main" id="{86D6FEA8-06E4-474A-8491-CD1DDAE7D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4060292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EDBCF76-3461-2245-8BB1-FA50AE27F6CA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2" name="スライド番号プレースホルダ 5">
            <a:extLst>
              <a:ext uri="{FF2B5EF4-FFF2-40B4-BE49-F238E27FC236}">
                <a16:creationId xmlns:a16="http://schemas.microsoft.com/office/drawing/2014/main" id="{FB98B4FE-9AC1-D142-89B5-4D3791685B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914108"/>
            <a:fld id="{E9B57936-92EF-4126-AE48-1D9D36D15E98}" type="slidenum">
              <a:rPr lang="ja-JP" altLang="en-US" smtClean="0"/>
              <a:pPr defTabSz="914108"/>
              <a:t>‹#›</a:t>
            </a:fld>
            <a:endParaRPr lang="ja-JP" altLang="en-US"/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7D5A74AA-F0D3-9243-967D-FEA6F7A20BC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8" y="6523002"/>
            <a:ext cx="4060292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D16C870C-B0F9-5A43-81FD-66BD75CC33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0530" y="1491374"/>
            <a:ext cx="4071497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/>
            </a:lvl1pPr>
            <a:lvl2pPr marL="342801" indent="0">
              <a:buNone/>
              <a:defRPr sz="1350" b="1"/>
            </a:lvl2pPr>
            <a:lvl3pPr marL="685612" indent="0">
              <a:buNone/>
              <a:defRPr sz="1350" b="1"/>
            </a:lvl3pPr>
            <a:lvl4pPr marL="1028414" indent="0">
              <a:buNone/>
              <a:defRPr sz="1350" b="1"/>
            </a:lvl4pPr>
            <a:lvl5pPr marL="1371218" indent="0">
              <a:buNone/>
              <a:defRPr sz="135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C64E591A-1A88-9244-AC81-5B42BFE347C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0531" y="1093767"/>
            <a:ext cx="4071496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50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Primary Titl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CCF996F4-FAC1-F38A-4E25-8274E643F3C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98319" y="6110930"/>
            <a:ext cx="825739" cy="37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149461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dvanced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925D82-457F-D84D-B8DF-D8ADFD7E71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0531" y="3178298"/>
            <a:ext cx="5537863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35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530" y="3575905"/>
            <a:ext cx="5540687" cy="2859621"/>
          </a:xfrm>
          <a:prstGeom prst="rect">
            <a:avLst/>
          </a:prstGeom>
        </p:spPr>
        <p:txBody>
          <a:bodyPr tIns="0" rIns="0" bIns="0" numCol="2" spcCol="126000">
            <a:noAutofit/>
          </a:bodyPr>
          <a:lstStyle>
            <a:lvl1pPr marL="128588" indent="-128588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 sz="1050" b="0">
                <a:solidFill>
                  <a:schemeClr val="tx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ext.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54C5EE8-C42D-B549-B4D4-C0F00D68A42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102721" y="1093767"/>
            <a:ext cx="3052125" cy="5331536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33463"/>
              <a:gd name="connsiteX1" fmla="*/ 8912928 w 8915642"/>
              <a:gd name="connsiteY1" fmla="*/ 191388 h 6633463"/>
              <a:gd name="connsiteX2" fmla="*/ 8915642 w 8915642"/>
              <a:gd name="connsiteY2" fmla="*/ 6631809 h 6633463"/>
              <a:gd name="connsiteX3" fmla="*/ 579722 w 8915642"/>
              <a:gd name="connsiteY3" fmla="*/ 6633463 h 6633463"/>
              <a:gd name="connsiteX4" fmla="*/ 0 w 8915642"/>
              <a:gd name="connsiteY4" fmla="*/ 6053741 h 6633463"/>
              <a:gd name="connsiteX5" fmla="*/ 0 w 8915642"/>
              <a:gd name="connsiteY5" fmla="*/ 1 h 6633463"/>
              <a:gd name="connsiteX0" fmla="*/ 0 w 8933278"/>
              <a:gd name="connsiteY0" fmla="*/ 1653 h 6635115"/>
              <a:gd name="connsiteX1" fmla="*/ 8933248 w 8933278"/>
              <a:gd name="connsiteY1" fmla="*/ 0 h 6635115"/>
              <a:gd name="connsiteX2" fmla="*/ 8915642 w 8933278"/>
              <a:gd name="connsiteY2" fmla="*/ 6633461 h 6635115"/>
              <a:gd name="connsiteX3" fmla="*/ 579722 w 8933278"/>
              <a:gd name="connsiteY3" fmla="*/ 6635115 h 6635115"/>
              <a:gd name="connsiteX4" fmla="*/ 0 w 8933278"/>
              <a:gd name="connsiteY4" fmla="*/ 6055393 h 6635115"/>
              <a:gd name="connsiteX5" fmla="*/ 0 w 8933278"/>
              <a:gd name="connsiteY5" fmla="*/ 1653 h 6635115"/>
              <a:gd name="connsiteX0" fmla="*/ 0 w 8933323"/>
              <a:gd name="connsiteY0" fmla="*/ 1653 h 6645336"/>
              <a:gd name="connsiteX1" fmla="*/ 8933248 w 8933323"/>
              <a:gd name="connsiteY1" fmla="*/ 0 h 6645336"/>
              <a:gd name="connsiteX2" fmla="*/ 8927517 w 8933323"/>
              <a:gd name="connsiteY2" fmla="*/ 6645336 h 6645336"/>
              <a:gd name="connsiteX3" fmla="*/ 579722 w 8933323"/>
              <a:gd name="connsiteY3" fmla="*/ 6635115 h 6645336"/>
              <a:gd name="connsiteX4" fmla="*/ 0 w 8933323"/>
              <a:gd name="connsiteY4" fmla="*/ 6055393 h 6645336"/>
              <a:gd name="connsiteX5" fmla="*/ 0 w 8933323"/>
              <a:gd name="connsiteY5" fmla="*/ 1653 h 6645336"/>
              <a:gd name="connsiteX0" fmla="*/ 0 w 8927517"/>
              <a:gd name="connsiteY0" fmla="*/ 1653 h 6645336"/>
              <a:gd name="connsiteX1" fmla="*/ 7971347 w 8927517"/>
              <a:gd name="connsiteY1" fmla="*/ 0 h 6645336"/>
              <a:gd name="connsiteX2" fmla="*/ 8927517 w 8927517"/>
              <a:gd name="connsiteY2" fmla="*/ 6645336 h 6645336"/>
              <a:gd name="connsiteX3" fmla="*/ 579722 w 8927517"/>
              <a:gd name="connsiteY3" fmla="*/ 6635115 h 6645336"/>
              <a:gd name="connsiteX4" fmla="*/ 0 w 8927517"/>
              <a:gd name="connsiteY4" fmla="*/ 6055393 h 6645336"/>
              <a:gd name="connsiteX5" fmla="*/ 0 w 8927517"/>
              <a:gd name="connsiteY5" fmla="*/ 1653 h 6645336"/>
              <a:gd name="connsiteX0" fmla="*/ 0 w 7971422"/>
              <a:gd name="connsiteY0" fmla="*/ 1653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653 h 6645336"/>
              <a:gd name="connsiteX0" fmla="*/ 0 w 7971422"/>
              <a:gd name="connsiteY0" fmla="*/ 1301816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301816 h 6645336"/>
              <a:gd name="connsiteX0" fmla="*/ 0 w 7965616"/>
              <a:gd name="connsiteY0" fmla="*/ 1653 h 5345173"/>
              <a:gd name="connsiteX1" fmla="*/ 7957060 w 7965616"/>
              <a:gd name="connsiteY1" fmla="*/ 0 h 5345173"/>
              <a:gd name="connsiteX2" fmla="*/ 7965616 w 7965616"/>
              <a:gd name="connsiteY2" fmla="*/ 5345173 h 5345173"/>
              <a:gd name="connsiteX3" fmla="*/ 579722 w 7965616"/>
              <a:gd name="connsiteY3" fmla="*/ 5334952 h 5345173"/>
              <a:gd name="connsiteX4" fmla="*/ 0 w 7965616"/>
              <a:gd name="connsiteY4" fmla="*/ 4755230 h 5345173"/>
              <a:gd name="connsiteX5" fmla="*/ 0 w 7965616"/>
              <a:gd name="connsiteY5" fmla="*/ 1653 h 5345173"/>
              <a:gd name="connsiteX0" fmla="*/ 0 w 7971422"/>
              <a:gd name="connsiteY0" fmla="*/ 1653 h 5345173"/>
              <a:gd name="connsiteX1" fmla="*/ 7971347 w 7971422"/>
              <a:gd name="connsiteY1" fmla="*/ 0 h 5345173"/>
              <a:gd name="connsiteX2" fmla="*/ 7965616 w 7971422"/>
              <a:gd name="connsiteY2" fmla="*/ 5345173 h 5345173"/>
              <a:gd name="connsiteX3" fmla="*/ 579722 w 7971422"/>
              <a:gd name="connsiteY3" fmla="*/ 5334952 h 5345173"/>
              <a:gd name="connsiteX4" fmla="*/ 0 w 7971422"/>
              <a:gd name="connsiteY4" fmla="*/ 4755230 h 5345173"/>
              <a:gd name="connsiteX5" fmla="*/ 0 w 7971422"/>
              <a:gd name="connsiteY5" fmla="*/ 1653 h 5345173"/>
              <a:gd name="connsiteX0" fmla="*/ 0 w 7988356"/>
              <a:gd name="connsiteY0" fmla="*/ 187920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187920 h 5345173"/>
              <a:gd name="connsiteX0" fmla="*/ 0 w 7988356"/>
              <a:gd name="connsiteY0" fmla="*/ 210145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210145 h 5345173"/>
              <a:gd name="connsiteX0" fmla="*/ 0 w 7988356"/>
              <a:gd name="connsiteY0" fmla="*/ 0 h 5135028"/>
              <a:gd name="connsiteX1" fmla="*/ 7988281 w 7988356"/>
              <a:gd name="connsiteY1" fmla="*/ 7569 h 5135028"/>
              <a:gd name="connsiteX2" fmla="*/ 7982550 w 7988356"/>
              <a:gd name="connsiteY2" fmla="*/ 5135028 h 5135028"/>
              <a:gd name="connsiteX3" fmla="*/ 596656 w 7988356"/>
              <a:gd name="connsiteY3" fmla="*/ 5124807 h 5135028"/>
              <a:gd name="connsiteX4" fmla="*/ 16934 w 7988356"/>
              <a:gd name="connsiteY4" fmla="*/ 4545085 h 5135028"/>
              <a:gd name="connsiteX5" fmla="*/ 0 w 7988356"/>
              <a:gd name="connsiteY5" fmla="*/ 0 h 5135028"/>
              <a:gd name="connsiteX0" fmla="*/ 0 w 7982550"/>
              <a:gd name="connsiteY0" fmla="*/ 0 h 5135028"/>
              <a:gd name="connsiteX1" fmla="*/ 6028853 w 7982550"/>
              <a:gd name="connsiteY1" fmla="*/ 7569 h 5135028"/>
              <a:gd name="connsiteX2" fmla="*/ 7982550 w 7982550"/>
              <a:gd name="connsiteY2" fmla="*/ 5135028 h 5135028"/>
              <a:gd name="connsiteX3" fmla="*/ 596656 w 7982550"/>
              <a:gd name="connsiteY3" fmla="*/ 5124807 h 5135028"/>
              <a:gd name="connsiteX4" fmla="*/ 16934 w 7982550"/>
              <a:gd name="connsiteY4" fmla="*/ 4545085 h 5135028"/>
              <a:gd name="connsiteX5" fmla="*/ 0 w 7982550"/>
              <a:gd name="connsiteY5" fmla="*/ 0 h 5135028"/>
              <a:gd name="connsiteX0" fmla="*/ 0 w 6037636"/>
              <a:gd name="connsiteY0" fmla="*/ 0 h 5135028"/>
              <a:gd name="connsiteX1" fmla="*/ 6028853 w 6037636"/>
              <a:gd name="connsiteY1" fmla="*/ 7569 h 5135028"/>
              <a:gd name="connsiteX2" fmla="*/ 6037636 w 6037636"/>
              <a:gd name="connsiteY2" fmla="*/ 5135028 h 5135028"/>
              <a:gd name="connsiteX3" fmla="*/ 596656 w 6037636"/>
              <a:gd name="connsiteY3" fmla="*/ 5124807 h 5135028"/>
              <a:gd name="connsiteX4" fmla="*/ 16934 w 6037636"/>
              <a:gd name="connsiteY4" fmla="*/ 4545085 h 5135028"/>
              <a:gd name="connsiteX5" fmla="*/ 0 w 6037636"/>
              <a:gd name="connsiteY5" fmla="*/ 0 h 5135028"/>
              <a:gd name="connsiteX0" fmla="*/ 0 w 6028853"/>
              <a:gd name="connsiteY0" fmla="*/ 0 h 5124807"/>
              <a:gd name="connsiteX1" fmla="*/ 6028853 w 6028853"/>
              <a:gd name="connsiteY1" fmla="*/ 7569 h 5124807"/>
              <a:gd name="connsiteX2" fmla="*/ 4063693 w 6028853"/>
              <a:gd name="connsiteY2" fmla="*/ 5105999 h 5124807"/>
              <a:gd name="connsiteX3" fmla="*/ 596656 w 6028853"/>
              <a:gd name="connsiteY3" fmla="*/ 5124807 h 5124807"/>
              <a:gd name="connsiteX4" fmla="*/ 16934 w 6028853"/>
              <a:gd name="connsiteY4" fmla="*/ 4545085 h 5124807"/>
              <a:gd name="connsiteX5" fmla="*/ 0 w 6028853"/>
              <a:gd name="connsiteY5" fmla="*/ 0 h 5124807"/>
              <a:gd name="connsiteX0" fmla="*/ 0 w 4069500"/>
              <a:gd name="connsiteY0" fmla="*/ 0 h 5124807"/>
              <a:gd name="connsiteX1" fmla="*/ 4069425 w 4069500"/>
              <a:gd name="connsiteY1" fmla="*/ 7569 h 5124807"/>
              <a:gd name="connsiteX2" fmla="*/ 4063693 w 4069500"/>
              <a:gd name="connsiteY2" fmla="*/ 5105999 h 5124807"/>
              <a:gd name="connsiteX3" fmla="*/ 596656 w 4069500"/>
              <a:gd name="connsiteY3" fmla="*/ 5124807 h 5124807"/>
              <a:gd name="connsiteX4" fmla="*/ 16934 w 4069500"/>
              <a:gd name="connsiteY4" fmla="*/ 4545085 h 5124807"/>
              <a:gd name="connsiteX5" fmla="*/ 0 w 4069500"/>
              <a:gd name="connsiteY5" fmla="*/ 0 h 5124807"/>
              <a:gd name="connsiteX0" fmla="*/ 0 w 4069500"/>
              <a:gd name="connsiteY0" fmla="*/ 6946 h 5131753"/>
              <a:gd name="connsiteX1" fmla="*/ 4069425 w 4069500"/>
              <a:gd name="connsiteY1" fmla="*/ 0 h 5131753"/>
              <a:gd name="connsiteX2" fmla="*/ 4063693 w 4069500"/>
              <a:gd name="connsiteY2" fmla="*/ 5112945 h 5131753"/>
              <a:gd name="connsiteX3" fmla="*/ 596656 w 4069500"/>
              <a:gd name="connsiteY3" fmla="*/ 5131753 h 5131753"/>
              <a:gd name="connsiteX4" fmla="*/ 16934 w 4069500"/>
              <a:gd name="connsiteY4" fmla="*/ 4552031 h 5131753"/>
              <a:gd name="connsiteX5" fmla="*/ 0 w 4069500"/>
              <a:gd name="connsiteY5" fmla="*/ 6946 h 51317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69500" h="5131753">
                <a:moveTo>
                  <a:pt x="0" y="6946"/>
                </a:moveTo>
                <a:lnTo>
                  <a:pt x="4069425" y="0"/>
                </a:lnTo>
                <a:cubicBezTo>
                  <a:pt x="4070330" y="2146807"/>
                  <a:pt x="4062788" y="2966138"/>
                  <a:pt x="4063693" y="5112945"/>
                </a:cubicBezTo>
                <a:lnTo>
                  <a:pt x="596656" y="5131753"/>
                </a:lnTo>
                <a:cubicBezTo>
                  <a:pt x="276484" y="5131753"/>
                  <a:pt x="16934" y="4872203"/>
                  <a:pt x="16934" y="4552031"/>
                </a:cubicBezTo>
                <a:cubicBezTo>
                  <a:pt x="11289" y="3029594"/>
                  <a:pt x="5645" y="1529383"/>
                  <a:pt x="0" y="6946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JP"/>
              <a:t>Insert Photo</a:t>
            </a:r>
          </a:p>
        </p:txBody>
      </p:sp>
      <p:sp>
        <p:nvSpPr>
          <p:cNvPr id="17" name="タイトル プレースホルダ 1">
            <a:extLst>
              <a:ext uri="{FF2B5EF4-FFF2-40B4-BE49-F238E27FC236}">
                <a16:creationId xmlns:a16="http://schemas.microsoft.com/office/drawing/2014/main" id="{CCEDFD04-9A53-9241-851E-1D01DC555A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7455190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20" name="Footer Placeholder 8">
            <a:extLst>
              <a:ext uri="{FF2B5EF4-FFF2-40B4-BE49-F238E27FC236}">
                <a16:creationId xmlns:a16="http://schemas.microsoft.com/office/drawing/2014/main" id="{1E1D8887-7EAE-1A40-9285-7C632FEAA8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24538" y="6523002"/>
            <a:ext cx="30861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600" b="1" spc="75" baseline="0">
                <a:solidFill>
                  <a:schemeClr val="tx1"/>
                </a:solidFill>
              </a:defRPr>
            </a:lvl1pPr>
          </a:lstStyle>
          <a:p>
            <a:r>
              <a:rPr lang="en-JP"/>
              <a:t> 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65B3EBD-E4F5-8E40-B07A-C04F3B1E7F2C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6" name="スライド番号プレースホルダ 5">
            <a:extLst>
              <a:ext uri="{FF2B5EF4-FFF2-40B4-BE49-F238E27FC236}">
                <a16:creationId xmlns:a16="http://schemas.microsoft.com/office/drawing/2014/main" id="{3D5D14EF-A351-224D-8142-E1BEE44BBC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914108"/>
            <a:fld id="{E9B57936-92EF-4126-AE48-1D9D36D15E98}" type="slidenum">
              <a:rPr lang="ja-JP" altLang="en-US" smtClean="0"/>
              <a:pPr defTabSz="914108"/>
              <a:t>‹#›</a:t>
            </a:fld>
            <a:endParaRPr lang="ja-JP" altLang="en-US"/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4D0A49B6-0BCC-C545-BF97-504B63062F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82FCE78-36AB-904B-98A8-CE3FFB1555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0531" y="1491374"/>
            <a:ext cx="5537862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/>
            </a:lvl1pPr>
            <a:lvl2pPr marL="342801" indent="0">
              <a:buNone/>
              <a:defRPr sz="1350" b="1"/>
            </a:lvl2pPr>
            <a:lvl3pPr marL="685612" indent="0">
              <a:buNone/>
              <a:defRPr sz="1350" b="1"/>
            </a:lvl3pPr>
            <a:lvl4pPr marL="1028414" indent="0">
              <a:buNone/>
              <a:defRPr sz="1350" b="1"/>
            </a:lvl4pPr>
            <a:lvl5pPr marL="1371218" indent="0">
              <a:buNone/>
              <a:defRPr sz="135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2ECF95F-F25E-8248-A0F3-BB1749A1B40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4559" y="1093767"/>
            <a:ext cx="5523834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50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Primary Title</a:t>
            </a:r>
          </a:p>
        </p:txBody>
      </p:sp>
      <p:pic>
        <p:nvPicPr>
          <p:cNvPr id="13" name="Picture 12" descr="Takeda">
            <a:extLst>
              <a:ext uri="{FF2B5EF4-FFF2-40B4-BE49-F238E27FC236}">
                <a16:creationId xmlns:a16="http://schemas.microsoft.com/office/drawing/2014/main" id="{4DBDCFC0-9C86-415D-9E83-9607D942219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3373" y="-1615"/>
            <a:ext cx="1272174" cy="94078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988975E1-64D5-1F1E-DCBE-26EEFECD0C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7898319" y="6110930"/>
            <a:ext cx="825739" cy="37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76384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D&amp;T Divid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erson standing in front of a screen&#10;&#10;Description automatically generated">
            <a:extLst>
              <a:ext uri="{FF2B5EF4-FFF2-40B4-BE49-F238E27FC236}">
                <a16:creationId xmlns:a16="http://schemas.microsoft.com/office/drawing/2014/main" id="{EBFE274A-C07A-B60E-24CB-A41216F5262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269" y="8546"/>
            <a:ext cx="7716038" cy="685800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B2C7E333-1422-0FEE-7761-61AFEEF2D6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" y="0"/>
            <a:ext cx="4862015" cy="6858000"/>
          </a:xfrm>
          <a:prstGeom prst="rect">
            <a:avLst/>
          </a:prstGeom>
        </p:spPr>
      </p:pic>
      <p:sp>
        <p:nvSpPr>
          <p:cNvPr id="33" name="Title 1">
            <a:extLst>
              <a:ext uri="{FF2B5EF4-FFF2-40B4-BE49-F238E27FC236}">
                <a16:creationId xmlns:a16="http://schemas.microsoft.com/office/drawing/2014/main" id="{E02383DA-65B3-044E-9E1B-2CC00A0B1CC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19958" y="1791297"/>
            <a:ext cx="3594682" cy="1999617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>
              <a:lnSpc>
                <a:spcPct val="70000"/>
              </a:lnSpc>
              <a:defRPr sz="4050" b="1" i="0" baseline="0">
                <a:solidFill>
                  <a:schemeClr val="bg1"/>
                </a:solidFill>
                <a:latin typeface="Calibri" panose="020F0502020204030204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/>
              <a:t>DIVIDER SLIDE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D7467C81-9D88-4140-B42C-28DFB564647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40532" y="3741998"/>
            <a:ext cx="3594682" cy="6745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DIVIDER SLIDE SUBTIT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86BB4347-F18A-880A-34E4-E893943E2F6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5689411" y="1"/>
            <a:ext cx="3454589" cy="6857999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5E997114-5490-FDFC-33FF-328A0F24659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258197" y="6219795"/>
            <a:ext cx="685800" cy="313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3661834"/>
      </p:ext>
    </p:extLst>
  </p:cSld>
  <p:clrMapOvr>
    <a:masterClrMapping/>
  </p:clrMapOvr>
  <p:transition spd="slow">
    <p:push dir="u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dvanced 1/3 Image (Full Ble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925D82-457F-D84D-B8DF-D8ADFD7E71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4558" y="3178298"/>
            <a:ext cx="4060292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35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480" y="3575905"/>
            <a:ext cx="5569737" cy="2859621"/>
          </a:xfrm>
          <a:prstGeom prst="rect">
            <a:avLst/>
          </a:prstGeom>
        </p:spPr>
        <p:txBody>
          <a:bodyPr tIns="0" rIns="0" bIns="0" numCol="2" spcCol="126000">
            <a:noAutofit/>
          </a:bodyPr>
          <a:lstStyle>
            <a:lvl1pPr marL="128588" indent="-128588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 sz="1050" b="0">
                <a:solidFill>
                  <a:schemeClr val="tx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ext.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54C5EE8-C42D-B549-B4D4-C0F00D68A42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92781" y="-1378"/>
            <a:ext cx="3057710" cy="6860842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33463"/>
              <a:gd name="connsiteX1" fmla="*/ 8912928 w 8915642"/>
              <a:gd name="connsiteY1" fmla="*/ 191388 h 6633463"/>
              <a:gd name="connsiteX2" fmla="*/ 8915642 w 8915642"/>
              <a:gd name="connsiteY2" fmla="*/ 6631809 h 6633463"/>
              <a:gd name="connsiteX3" fmla="*/ 579722 w 8915642"/>
              <a:gd name="connsiteY3" fmla="*/ 6633463 h 6633463"/>
              <a:gd name="connsiteX4" fmla="*/ 0 w 8915642"/>
              <a:gd name="connsiteY4" fmla="*/ 6053741 h 6633463"/>
              <a:gd name="connsiteX5" fmla="*/ 0 w 8915642"/>
              <a:gd name="connsiteY5" fmla="*/ 1 h 6633463"/>
              <a:gd name="connsiteX0" fmla="*/ 0 w 8933278"/>
              <a:gd name="connsiteY0" fmla="*/ 1653 h 6635115"/>
              <a:gd name="connsiteX1" fmla="*/ 8933248 w 8933278"/>
              <a:gd name="connsiteY1" fmla="*/ 0 h 6635115"/>
              <a:gd name="connsiteX2" fmla="*/ 8915642 w 8933278"/>
              <a:gd name="connsiteY2" fmla="*/ 6633461 h 6635115"/>
              <a:gd name="connsiteX3" fmla="*/ 579722 w 8933278"/>
              <a:gd name="connsiteY3" fmla="*/ 6635115 h 6635115"/>
              <a:gd name="connsiteX4" fmla="*/ 0 w 8933278"/>
              <a:gd name="connsiteY4" fmla="*/ 6055393 h 6635115"/>
              <a:gd name="connsiteX5" fmla="*/ 0 w 8933278"/>
              <a:gd name="connsiteY5" fmla="*/ 1653 h 6635115"/>
              <a:gd name="connsiteX0" fmla="*/ 0 w 8933323"/>
              <a:gd name="connsiteY0" fmla="*/ 1653 h 6645336"/>
              <a:gd name="connsiteX1" fmla="*/ 8933248 w 8933323"/>
              <a:gd name="connsiteY1" fmla="*/ 0 h 6645336"/>
              <a:gd name="connsiteX2" fmla="*/ 8927517 w 8933323"/>
              <a:gd name="connsiteY2" fmla="*/ 6645336 h 6645336"/>
              <a:gd name="connsiteX3" fmla="*/ 579722 w 8933323"/>
              <a:gd name="connsiteY3" fmla="*/ 6635115 h 6645336"/>
              <a:gd name="connsiteX4" fmla="*/ 0 w 8933323"/>
              <a:gd name="connsiteY4" fmla="*/ 6055393 h 6645336"/>
              <a:gd name="connsiteX5" fmla="*/ 0 w 8933323"/>
              <a:gd name="connsiteY5" fmla="*/ 1653 h 6645336"/>
              <a:gd name="connsiteX0" fmla="*/ 0 w 8927517"/>
              <a:gd name="connsiteY0" fmla="*/ 1653 h 6645336"/>
              <a:gd name="connsiteX1" fmla="*/ 7971347 w 8927517"/>
              <a:gd name="connsiteY1" fmla="*/ 0 h 6645336"/>
              <a:gd name="connsiteX2" fmla="*/ 8927517 w 8927517"/>
              <a:gd name="connsiteY2" fmla="*/ 6645336 h 6645336"/>
              <a:gd name="connsiteX3" fmla="*/ 579722 w 8927517"/>
              <a:gd name="connsiteY3" fmla="*/ 6635115 h 6645336"/>
              <a:gd name="connsiteX4" fmla="*/ 0 w 8927517"/>
              <a:gd name="connsiteY4" fmla="*/ 6055393 h 6645336"/>
              <a:gd name="connsiteX5" fmla="*/ 0 w 8927517"/>
              <a:gd name="connsiteY5" fmla="*/ 1653 h 6645336"/>
              <a:gd name="connsiteX0" fmla="*/ 0 w 7971422"/>
              <a:gd name="connsiteY0" fmla="*/ 1653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653 h 6645336"/>
              <a:gd name="connsiteX0" fmla="*/ 0 w 7971422"/>
              <a:gd name="connsiteY0" fmla="*/ 1301816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301816 h 6645336"/>
              <a:gd name="connsiteX0" fmla="*/ 0 w 7965616"/>
              <a:gd name="connsiteY0" fmla="*/ 1653 h 5345173"/>
              <a:gd name="connsiteX1" fmla="*/ 7957060 w 7965616"/>
              <a:gd name="connsiteY1" fmla="*/ 0 h 5345173"/>
              <a:gd name="connsiteX2" fmla="*/ 7965616 w 7965616"/>
              <a:gd name="connsiteY2" fmla="*/ 5345173 h 5345173"/>
              <a:gd name="connsiteX3" fmla="*/ 579722 w 7965616"/>
              <a:gd name="connsiteY3" fmla="*/ 5334952 h 5345173"/>
              <a:gd name="connsiteX4" fmla="*/ 0 w 7965616"/>
              <a:gd name="connsiteY4" fmla="*/ 4755230 h 5345173"/>
              <a:gd name="connsiteX5" fmla="*/ 0 w 7965616"/>
              <a:gd name="connsiteY5" fmla="*/ 1653 h 5345173"/>
              <a:gd name="connsiteX0" fmla="*/ 0 w 7971422"/>
              <a:gd name="connsiteY0" fmla="*/ 1653 h 5345173"/>
              <a:gd name="connsiteX1" fmla="*/ 7971347 w 7971422"/>
              <a:gd name="connsiteY1" fmla="*/ 0 h 5345173"/>
              <a:gd name="connsiteX2" fmla="*/ 7965616 w 7971422"/>
              <a:gd name="connsiteY2" fmla="*/ 5345173 h 5345173"/>
              <a:gd name="connsiteX3" fmla="*/ 579722 w 7971422"/>
              <a:gd name="connsiteY3" fmla="*/ 5334952 h 5345173"/>
              <a:gd name="connsiteX4" fmla="*/ 0 w 7971422"/>
              <a:gd name="connsiteY4" fmla="*/ 4755230 h 5345173"/>
              <a:gd name="connsiteX5" fmla="*/ 0 w 7971422"/>
              <a:gd name="connsiteY5" fmla="*/ 1653 h 5345173"/>
              <a:gd name="connsiteX0" fmla="*/ 0 w 7988356"/>
              <a:gd name="connsiteY0" fmla="*/ 187920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187920 h 5345173"/>
              <a:gd name="connsiteX0" fmla="*/ 0 w 7988356"/>
              <a:gd name="connsiteY0" fmla="*/ 210145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210145 h 5345173"/>
              <a:gd name="connsiteX0" fmla="*/ 0 w 7988356"/>
              <a:gd name="connsiteY0" fmla="*/ 0 h 5135028"/>
              <a:gd name="connsiteX1" fmla="*/ 7988281 w 7988356"/>
              <a:gd name="connsiteY1" fmla="*/ 7569 h 5135028"/>
              <a:gd name="connsiteX2" fmla="*/ 7982550 w 7988356"/>
              <a:gd name="connsiteY2" fmla="*/ 5135028 h 5135028"/>
              <a:gd name="connsiteX3" fmla="*/ 596656 w 7988356"/>
              <a:gd name="connsiteY3" fmla="*/ 5124807 h 5135028"/>
              <a:gd name="connsiteX4" fmla="*/ 16934 w 7988356"/>
              <a:gd name="connsiteY4" fmla="*/ 4545085 h 5135028"/>
              <a:gd name="connsiteX5" fmla="*/ 0 w 7988356"/>
              <a:gd name="connsiteY5" fmla="*/ 0 h 5135028"/>
              <a:gd name="connsiteX0" fmla="*/ 0 w 7982550"/>
              <a:gd name="connsiteY0" fmla="*/ 0 h 5135028"/>
              <a:gd name="connsiteX1" fmla="*/ 6028853 w 7982550"/>
              <a:gd name="connsiteY1" fmla="*/ 7569 h 5135028"/>
              <a:gd name="connsiteX2" fmla="*/ 7982550 w 7982550"/>
              <a:gd name="connsiteY2" fmla="*/ 5135028 h 5135028"/>
              <a:gd name="connsiteX3" fmla="*/ 596656 w 7982550"/>
              <a:gd name="connsiteY3" fmla="*/ 5124807 h 5135028"/>
              <a:gd name="connsiteX4" fmla="*/ 16934 w 7982550"/>
              <a:gd name="connsiteY4" fmla="*/ 4545085 h 5135028"/>
              <a:gd name="connsiteX5" fmla="*/ 0 w 7982550"/>
              <a:gd name="connsiteY5" fmla="*/ 0 h 5135028"/>
              <a:gd name="connsiteX0" fmla="*/ 0 w 6037636"/>
              <a:gd name="connsiteY0" fmla="*/ 0 h 5135028"/>
              <a:gd name="connsiteX1" fmla="*/ 6028853 w 6037636"/>
              <a:gd name="connsiteY1" fmla="*/ 7569 h 5135028"/>
              <a:gd name="connsiteX2" fmla="*/ 6037636 w 6037636"/>
              <a:gd name="connsiteY2" fmla="*/ 5135028 h 5135028"/>
              <a:gd name="connsiteX3" fmla="*/ 596656 w 6037636"/>
              <a:gd name="connsiteY3" fmla="*/ 5124807 h 5135028"/>
              <a:gd name="connsiteX4" fmla="*/ 16934 w 6037636"/>
              <a:gd name="connsiteY4" fmla="*/ 4545085 h 5135028"/>
              <a:gd name="connsiteX5" fmla="*/ 0 w 6037636"/>
              <a:gd name="connsiteY5" fmla="*/ 0 h 5135028"/>
              <a:gd name="connsiteX0" fmla="*/ 0 w 6028853"/>
              <a:gd name="connsiteY0" fmla="*/ 0 h 5124807"/>
              <a:gd name="connsiteX1" fmla="*/ 6028853 w 6028853"/>
              <a:gd name="connsiteY1" fmla="*/ 7569 h 5124807"/>
              <a:gd name="connsiteX2" fmla="*/ 4063693 w 6028853"/>
              <a:gd name="connsiteY2" fmla="*/ 5105999 h 5124807"/>
              <a:gd name="connsiteX3" fmla="*/ 596656 w 6028853"/>
              <a:gd name="connsiteY3" fmla="*/ 5124807 h 5124807"/>
              <a:gd name="connsiteX4" fmla="*/ 16934 w 6028853"/>
              <a:gd name="connsiteY4" fmla="*/ 4545085 h 5124807"/>
              <a:gd name="connsiteX5" fmla="*/ 0 w 6028853"/>
              <a:gd name="connsiteY5" fmla="*/ 0 h 5124807"/>
              <a:gd name="connsiteX0" fmla="*/ 0 w 4069500"/>
              <a:gd name="connsiteY0" fmla="*/ 0 h 5124807"/>
              <a:gd name="connsiteX1" fmla="*/ 4069425 w 4069500"/>
              <a:gd name="connsiteY1" fmla="*/ 7569 h 5124807"/>
              <a:gd name="connsiteX2" fmla="*/ 4063693 w 4069500"/>
              <a:gd name="connsiteY2" fmla="*/ 5105999 h 5124807"/>
              <a:gd name="connsiteX3" fmla="*/ 596656 w 4069500"/>
              <a:gd name="connsiteY3" fmla="*/ 5124807 h 5124807"/>
              <a:gd name="connsiteX4" fmla="*/ 16934 w 4069500"/>
              <a:gd name="connsiteY4" fmla="*/ 4545085 h 5124807"/>
              <a:gd name="connsiteX5" fmla="*/ 0 w 4069500"/>
              <a:gd name="connsiteY5" fmla="*/ 0 h 5124807"/>
              <a:gd name="connsiteX0" fmla="*/ 0 w 4069500"/>
              <a:gd name="connsiteY0" fmla="*/ 6946 h 5131753"/>
              <a:gd name="connsiteX1" fmla="*/ 4069425 w 4069500"/>
              <a:gd name="connsiteY1" fmla="*/ 0 h 5131753"/>
              <a:gd name="connsiteX2" fmla="*/ 4063693 w 4069500"/>
              <a:gd name="connsiteY2" fmla="*/ 5112945 h 5131753"/>
              <a:gd name="connsiteX3" fmla="*/ 596656 w 4069500"/>
              <a:gd name="connsiteY3" fmla="*/ 5131753 h 5131753"/>
              <a:gd name="connsiteX4" fmla="*/ 16934 w 4069500"/>
              <a:gd name="connsiteY4" fmla="*/ 4552031 h 5131753"/>
              <a:gd name="connsiteX5" fmla="*/ 0 w 4069500"/>
              <a:gd name="connsiteY5" fmla="*/ 6946 h 5131753"/>
              <a:gd name="connsiteX0" fmla="*/ 0 w 4082753"/>
              <a:gd name="connsiteY0" fmla="*/ 2 h 6874096"/>
              <a:gd name="connsiteX1" fmla="*/ 4082678 w 4082753"/>
              <a:gd name="connsiteY1" fmla="*/ 1742343 h 6874096"/>
              <a:gd name="connsiteX2" fmla="*/ 4076946 w 4082753"/>
              <a:gd name="connsiteY2" fmla="*/ 6855288 h 6874096"/>
              <a:gd name="connsiteX3" fmla="*/ 609909 w 4082753"/>
              <a:gd name="connsiteY3" fmla="*/ 6874096 h 6874096"/>
              <a:gd name="connsiteX4" fmla="*/ 30187 w 4082753"/>
              <a:gd name="connsiteY4" fmla="*/ 6294374 h 6874096"/>
              <a:gd name="connsiteX5" fmla="*/ 0 w 4082753"/>
              <a:gd name="connsiteY5" fmla="*/ 2 h 6874096"/>
              <a:gd name="connsiteX0" fmla="*/ 0 w 4095958"/>
              <a:gd name="connsiteY0" fmla="*/ 6946 h 6881040"/>
              <a:gd name="connsiteX1" fmla="*/ 4095930 w 4095958"/>
              <a:gd name="connsiteY1" fmla="*/ 0 h 6881040"/>
              <a:gd name="connsiteX2" fmla="*/ 4076946 w 4095958"/>
              <a:gd name="connsiteY2" fmla="*/ 6862232 h 6881040"/>
              <a:gd name="connsiteX3" fmla="*/ 609909 w 4095958"/>
              <a:gd name="connsiteY3" fmla="*/ 6881040 h 6881040"/>
              <a:gd name="connsiteX4" fmla="*/ 30187 w 4095958"/>
              <a:gd name="connsiteY4" fmla="*/ 6301318 h 6881040"/>
              <a:gd name="connsiteX5" fmla="*/ 0 w 4095958"/>
              <a:gd name="connsiteY5" fmla="*/ 6946 h 6881040"/>
              <a:gd name="connsiteX0" fmla="*/ 0 w 4076946"/>
              <a:gd name="connsiteY0" fmla="*/ 0 h 6874094"/>
              <a:gd name="connsiteX1" fmla="*/ 3870643 w 4076946"/>
              <a:gd name="connsiteY1" fmla="*/ 191837 h 6874094"/>
              <a:gd name="connsiteX2" fmla="*/ 4076946 w 4076946"/>
              <a:gd name="connsiteY2" fmla="*/ 6855286 h 6874094"/>
              <a:gd name="connsiteX3" fmla="*/ 609909 w 4076946"/>
              <a:gd name="connsiteY3" fmla="*/ 6874094 h 6874094"/>
              <a:gd name="connsiteX4" fmla="*/ 30187 w 4076946"/>
              <a:gd name="connsiteY4" fmla="*/ 6294372 h 6874094"/>
              <a:gd name="connsiteX5" fmla="*/ 0 w 4076946"/>
              <a:gd name="connsiteY5" fmla="*/ 0 h 6874094"/>
              <a:gd name="connsiteX0" fmla="*/ 0 w 4076946"/>
              <a:gd name="connsiteY0" fmla="*/ 0 h 6874094"/>
              <a:gd name="connsiteX1" fmla="*/ 4069426 w 4076946"/>
              <a:gd name="connsiteY1" fmla="*/ 19559 h 6874094"/>
              <a:gd name="connsiteX2" fmla="*/ 4076946 w 4076946"/>
              <a:gd name="connsiteY2" fmla="*/ 6855286 h 6874094"/>
              <a:gd name="connsiteX3" fmla="*/ 609909 w 4076946"/>
              <a:gd name="connsiteY3" fmla="*/ 6874094 h 6874094"/>
              <a:gd name="connsiteX4" fmla="*/ 30187 w 4076946"/>
              <a:gd name="connsiteY4" fmla="*/ 6294372 h 6874094"/>
              <a:gd name="connsiteX5" fmla="*/ 0 w 4076946"/>
              <a:gd name="connsiteY5" fmla="*/ 0 h 6874094"/>
              <a:gd name="connsiteX0" fmla="*/ 0 w 4076946"/>
              <a:gd name="connsiteY0" fmla="*/ 99710 h 6854535"/>
              <a:gd name="connsiteX1" fmla="*/ 4069426 w 4076946"/>
              <a:gd name="connsiteY1" fmla="*/ 0 h 6854535"/>
              <a:gd name="connsiteX2" fmla="*/ 4076946 w 4076946"/>
              <a:gd name="connsiteY2" fmla="*/ 6835727 h 6854535"/>
              <a:gd name="connsiteX3" fmla="*/ 609909 w 4076946"/>
              <a:gd name="connsiteY3" fmla="*/ 6854535 h 6854535"/>
              <a:gd name="connsiteX4" fmla="*/ 30187 w 4076946"/>
              <a:gd name="connsiteY4" fmla="*/ 6274813 h 6854535"/>
              <a:gd name="connsiteX5" fmla="*/ 0 w 4076946"/>
              <a:gd name="connsiteY5" fmla="*/ 99710 h 6854535"/>
              <a:gd name="connsiteX0" fmla="*/ 0 w 4076946"/>
              <a:gd name="connsiteY0" fmla="*/ 0 h 6860842"/>
              <a:gd name="connsiteX1" fmla="*/ 4069426 w 4076946"/>
              <a:gd name="connsiteY1" fmla="*/ 6307 h 6860842"/>
              <a:gd name="connsiteX2" fmla="*/ 4076946 w 4076946"/>
              <a:gd name="connsiteY2" fmla="*/ 6842034 h 6860842"/>
              <a:gd name="connsiteX3" fmla="*/ 609909 w 4076946"/>
              <a:gd name="connsiteY3" fmla="*/ 6860842 h 6860842"/>
              <a:gd name="connsiteX4" fmla="*/ 30187 w 4076946"/>
              <a:gd name="connsiteY4" fmla="*/ 6281120 h 6860842"/>
              <a:gd name="connsiteX5" fmla="*/ 0 w 4076946"/>
              <a:gd name="connsiteY5" fmla="*/ 0 h 6860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76946" h="6860842">
                <a:moveTo>
                  <a:pt x="0" y="0"/>
                </a:moveTo>
                <a:lnTo>
                  <a:pt x="4069426" y="6307"/>
                </a:lnTo>
                <a:cubicBezTo>
                  <a:pt x="4070331" y="2153114"/>
                  <a:pt x="4076041" y="4695227"/>
                  <a:pt x="4076946" y="6842034"/>
                </a:cubicBezTo>
                <a:lnTo>
                  <a:pt x="609909" y="6860842"/>
                </a:lnTo>
                <a:cubicBezTo>
                  <a:pt x="289737" y="6860842"/>
                  <a:pt x="30187" y="6601292"/>
                  <a:pt x="30187" y="6281120"/>
                </a:cubicBezTo>
                <a:cubicBezTo>
                  <a:pt x="24542" y="4758683"/>
                  <a:pt x="5645" y="1522437"/>
                  <a:pt x="0" y="0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JP"/>
              <a:t>Insert Photo</a:t>
            </a:r>
          </a:p>
        </p:txBody>
      </p:sp>
      <p:sp>
        <p:nvSpPr>
          <p:cNvPr id="17" name="タイトル プレースホルダ 1">
            <a:extLst>
              <a:ext uri="{FF2B5EF4-FFF2-40B4-BE49-F238E27FC236}">
                <a16:creationId xmlns:a16="http://schemas.microsoft.com/office/drawing/2014/main" id="{6FB24DD6-99CB-CE43-A787-C9F60DC95F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5526659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7130E5B-E573-584B-8C83-F8409492B14B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1" name="スライド番号プレースホルダ 5">
            <a:extLst>
              <a:ext uri="{FF2B5EF4-FFF2-40B4-BE49-F238E27FC236}">
                <a16:creationId xmlns:a16="http://schemas.microsoft.com/office/drawing/2014/main" id="{C55CC856-2ADD-F44F-96B6-03734457CC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914108"/>
            <a:fld id="{E9B57936-92EF-4126-AE48-1D9D36D15E98}" type="slidenum">
              <a:rPr lang="ja-JP" altLang="en-US" smtClean="0"/>
              <a:pPr defTabSz="914108"/>
              <a:t>‹#›</a:t>
            </a:fld>
            <a:endParaRPr lang="ja-JP" altLang="en-US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DB94AACD-56D4-F146-AFC0-5CBE6630C5A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3A8AA34-7C7D-A24F-AF24-5158DD2AB0E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0530" y="1491374"/>
            <a:ext cx="5537864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/>
            </a:lvl1pPr>
            <a:lvl2pPr marL="342801" indent="0">
              <a:buNone/>
              <a:defRPr sz="1350" b="1"/>
            </a:lvl2pPr>
            <a:lvl3pPr marL="685612" indent="0">
              <a:buNone/>
              <a:defRPr sz="1350" b="1"/>
            </a:lvl3pPr>
            <a:lvl4pPr marL="1028414" indent="0">
              <a:buNone/>
              <a:defRPr sz="1350" b="1"/>
            </a:lvl4pPr>
            <a:lvl5pPr marL="1371218" indent="0">
              <a:buNone/>
              <a:defRPr sz="135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8F4B55CE-CF3E-7E44-A66A-599621CA5C5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0531" y="1093767"/>
            <a:ext cx="5537863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50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Primary Titl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2DC606A0-8468-5913-6CE4-A87998B0F2C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98319" y="6110930"/>
            <a:ext cx="825739" cy="37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698376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dvanced Image 4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21DF8897-54F9-C24F-8261-0C5418827A6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789157" y="3076287"/>
            <a:ext cx="1926218" cy="3138969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18553"/>
              <a:gd name="connsiteX1" fmla="*/ 8912928 w 8915642"/>
              <a:gd name="connsiteY1" fmla="*/ 176478 h 6618553"/>
              <a:gd name="connsiteX2" fmla="*/ 8915642 w 8915642"/>
              <a:gd name="connsiteY2" fmla="*/ 6616899 h 6618553"/>
              <a:gd name="connsiteX3" fmla="*/ 579722 w 8915642"/>
              <a:gd name="connsiteY3" fmla="*/ 6618553 h 6618553"/>
              <a:gd name="connsiteX4" fmla="*/ 0 w 8915642"/>
              <a:gd name="connsiteY4" fmla="*/ 6038831 h 6618553"/>
              <a:gd name="connsiteX5" fmla="*/ 0 w 8915642"/>
              <a:gd name="connsiteY5" fmla="*/ 1 h 6618553"/>
              <a:gd name="connsiteX0" fmla="*/ 0 w 8915642"/>
              <a:gd name="connsiteY0" fmla="*/ 25404 h 6643956"/>
              <a:gd name="connsiteX1" fmla="*/ 6015348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25404 h 6643956"/>
              <a:gd name="connsiteX0" fmla="*/ 0 w 8915642"/>
              <a:gd name="connsiteY0" fmla="*/ 1653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1653 h 6620205"/>
              <a:gd name="connsiteX0" fmla="*/ 0 w 8915642"/>
              <a:gd name="connsiteY0" fmla="*/ 96656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96656 h 6620205"/>
              <a:gd name="connsiteX0" fmla="*/ 0 w 8915642"/>
              <a:gd name="connsiteY0" fmla="*/ 0 h 6642302"/>
              <a:gd name="connsiteX1" fmla="*/ 6003473 w 8915642"/>
              <a:gd name="connsiteY1" fmla="*/ 22097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0 h 6642302"/>
              <a:gd name="connsiteX1" fmla="*/ 5932221 w 8915642"/>
              <a:gd name="connsiteY1" fmla="*/ 152725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1654 h 6643956"/>
              <a:gd name="connsiteX1" fmla="*/ 6003473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1654 h 6643956"/>
              <a:gd name="connsiteX0" fmla="*/ 0 w 6018062"/>
              <a:gd name="connsiteY0" fmla="*/ 1654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1654 h 6654178"/>
              <a:gd name="connsiteX0" fmla="*/ 0 w 6018062"/>
              <a:gd name="connsiteY0" fmla="*/ 203535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203535 h 6654178"/>
              <a:gd name="connsiteX0" fmla="*/ 0 w 6018062"/>
              <a:gd name="connsiteY0" fmla="*/ 1655 h 6452298"/>
              <a:gd name="connsiteX1" fmla="*/ 4055920 w 6018062"/>
              <a:gd name="connsiteY1" fmla="*/ 0 h 6452298"/>
              <a:gd name="connsiteX2" fmla="*/ 6018062 w 6018062"/>
              <a:gd name="connsiteY2" fmla="*/ 6452298 h 6452298"/>
              <a:gd name="connsiteX3" fmla="*/ 579722 w 6018062"/>
              <a:gd name="connsiteY3" fmla="*/ 6442076 h 6452298"/>
              <a:gd name="connsiteX4" fmla="*/ 0 w 6018062"/>
              <a:gd name="connsiteY4" fmla="*/ 5862354 h 6452298"/>
              <a:gd name="connsiteX5" fmla="*/ 0 w 6018062"/>
              <a:gd name="connsiteY5" fmla="*/ 1655 h 6452298"/>
              <a:gd name="connsiteX0" fmla="*/ 0 w 4055973"/>
              <a:gd name="connsiteY0" fmla="*/ 1655 h 6452298"/>
              <a:gd name="connsiteX1" fmla="*/ 4055920 w 4055973"/>
              <a:gd name="connsiteY1" fmla="*/ 0 h 6452298"/>
              <a:gd name="connsiteX2" fmla="*/ 4046758 w 4055973"/>
              <a:gd name="connsiteY2" fmla="*/ 6452298 h 6452298"/>
              <a:gd name="connsiteX3" fmla="*/ 579722 w 4055973"/>
              <a:gd name="connsiteY3" fmla="*/ 6442076 h 6452298"/>
              <a:gd name="connsiteX4" fmla="*/ 0 w 4055973"/>
              <a:gd name="connsiteY4" fmla="*/ 5862354 h 6452298"/>
              <a:gd name="connsiteX5" fmla="*/ 0 w 4055973"/>
              <a:gd name="connsiteY5" fmla="*/ 1655 h 6452298"/>
              <a:gd name="connsiteX0" fmla="*/ 0 w 4055973"/>
              <a:gd name="connsiteY0" fmla="*/ 0 h 6652523"/>
              <a:gd name="connsiteX1" fmla="*/ 4055920 w 4055973"/>
              <a:gd name="connsiteY1" fmla="*/ 200225 h 6652523"/>
              <a:gd name="connsiteX2" fmla="*/ 4046758 w 4055973"/>
              <a:gd name="connsiteY2" fmla="*/ 6652523 h 6652523"/>
              <a:gd name="connsiteX3" fmla="*/ 579722 w 4055973"/>
              <a:gd name="connsiteY3" fmla="*/ 6642301 h 6652523"/>
              <a:gd name="connsiteX4" fmla="*/ 0 w 4055973"/>
              <a:gd name="connsiteY4" fmla="*/ 6062579 h 6652523"/>
              <a:gd name="connsiteX5" fmla="*/ 0 w 4055973"/>
              <a:gd name="connsiteY5" fmla="*/ 0 h 6652523"/>
              <a:gd name="connsiteX0" fmla="*/ 0 w 4046758"/>
              <a:gd name="connsiteY0" fmla="*/ 0 h 6652523"/>
              <a:gd name="connsiteX1" fmla="*/ 4044045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1655 h 6654178"/>
              <a:gd name="connsiteX1" fmla="*/ 3082144 w 4046758"/>
              <a:gd name="connsiteY1" fmla="*/ 0 h 6654178"/>
              <a:gd name="connsiteX2" fmla="*/ 4046758 w 4046758"/>
              <a:gd name="connsiteY2" fmla="*/ 6654178 h 6654178"/>
              <a:gd name="connsiteX3" fmla="*/ 579722 w 4046758"/>
              <a:gd name="connsiteY3" fmla="*/ 6643956 h 6654178"/>
              <a:gd name="connsiteX4" fmla="*/ 0 w 4046758"/>
              <a:gd name="connsiteY4" fmla="*/ 6064234 h 6654178"/>
              <a:gd name="connsiteX5" fmla="*/ 0 w 4046758"/>
              <a:gd name="connsiteY5" fmla="*/ 1655 h 6654178"/>
              <a:gd name="connsiteX0" fmla="*/ 0 w 4046758"/>
              <a:gd name="connsiteY0" fmla="*/ 0 h 6652523"/>
              <a:gd name="connsiteX1" fmla="*/ 2975266 w 4046758"/>
              <a:gd name="connsiteY1" fmla="*/ 93348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70268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82144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3082197"/>
              <a:gd name="connsiteY0" fmla="*/ 0 h 6652523"/>
              <a:gd name="connsiteX1" fmla="*/ 3082144 w 3082197"/>
              <a:gd name="connsiteY1" fmla="*/ 10220 h 6652523"/>
              <a:gd name="connsiteX2" fmla="*/ 3072982 w 3082197"/>
              <a:gd name="connsiteY2" fmla="*/ 6652523 h 6652523"/>
              <a:gd name="connsiteX3" fmla="*/ 579722 w 3082197"/>
              <a:gd name="connsiteY3" fmla="*/ 6642301 h 6652523"/>
              <a:gd name="connsiteX4" fmla="*/ 0 w 3082197"/>
              <a:gd name="connsiteY4" fmla="*/ 6062579 h 6652523"/>
              <a:gd name="connsiteX5" fmla="*/ 0 w 3082197"/>
              <a:gd name="connsiteY5" fmla="*/ 0 h 6652523"/>
              <a:gd name="connsiteX0" fmla="*/ 0 w 3072982"/>
              <a:gd name="connsiteY0" fmla="*/ 0 h 6652523"/>
              <a:gd name="connsiteX1" fmla="*/ 3010892 w 3072982"/>
              <a:gd name="connsiteY1" fmla="*/ 164599 h 6652523"/>
              <a:gd name="connsiteX2" fmla="*/ 3072982 w 3072982"/>
              <a:gd name="connsiteY2" fmla="*/ 6652523 h 6652523"/>
              <a:gd name="connsiteX3" fmla="*/ 579722 w 3072982"/>
              <a:gd name="connsiteY3" fmla="*/ 6642301 h 6652523"/>
              <a:gd name="connsiteX4" fmla="*/ 0 w 3072982"/>
              <a:gd name="connsiteY4" fmla="*/ 6062579 h 6652523"/>
              <a:gd name="connsiteX5" fmla="*/ 0 w 3072982"/>
              <a:gd name="connsiteY5" fmla="*/ 0 h 6652523"/>
              <a:gd name="connsiteX0" fmla="*/ 0 w 3082197"/>
              <a:gd name="connsiteY0" fmla="*/ 1656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656 h 6654179"/>
              <a:gd name="connsiteX0" fmla="*/ 0 w 3082197"/>
              <a:gd name="connsiteY0" fmla="*/ 1316107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316107 h 6654179"/>
              <a:gd name="connsiteX0" fmla="*/ 0 w 3082197"/>
              <a:gd name="connsiteY0" fmla="*/ 1657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1657 h 5339729"/>
              <a:gd name="connsiteX0" fmla="*/ 0 w 3082197"/>
              <a:gd name="connsiteY0" fmla="*/ 2202416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2202416 h 5339729"/>
              <a:gd name="connsiteX0" fmla="*/ 0 w 3082197"/>
              <a:gd name="connsiteY0" fmla="*/ 1656 h 3138969"/>
              <a:gd name="connsiteX1" fmla="*/ 3082144 w 3082197"/>
              <a:gd name="connsiteY1" fmla="*/ 0 h 3138969"/>
              <a:gd name="connsiteX2" fmla="*/ 3072982 w 3082197"/>
              <a:gd name="connsiteY2" fmla="*/ 3138969 h 3138969"/>
              <a:gd name="connsiteX3" fmla="*/ 579722 w 3082197"/>
              <a:gd name="connsiteY3" fmla="*/ 3128747 h 3138969"/>
              <a:gd name="connsiteX4" fmla="*/ 0 w 3082197"/>
              <a:gd name="connsiteY4" fmla="*/ 2549025 h 3138969"/>
              <a:gd name="connsiteX5" fmla="*/ 0 w 3082197"/>
              <a:gd name="connsiteY5" fmla="*/ 1656 h 3138969"/>
              <a:gd name="connsiteX0" fmla="*/ 0 w 3082145"/>
              <a:gd name="connsiteY0" fmla="*/ 1656 h 3150544"/>
              <a:gd name="connsiteX1" fmla="*/ 3082144 w 3082145"/>
              <a:gd name="connsiteY1" fmla="*/ 0 h 3150544"/>
              <a:gd name="connsiteX2" fmla="*/ 2772041 w 3082145"/>
              <a:gd name="connsiteY2" fmla="*/ 3150544 h 3150544"/>
              <a:gd name="connsiteX3" fmla="*/ 579722 w 3082145"/>
              <a:gd name="connsiteY3" fmla="*/ 3128747 h 3150544"/>
              <a:gd name="connsiteX4" fmla="*/ 0 w 3082145"/>
              <a:gd name="connsiteY4" fmla="*/ 2549025 h 3150544"/>
              <a:gd name="connsiteX5" fmla="*/ 0 w 3082145"/>
              <a:gd name="connsiteY5" fmla="*/ 1656 h 3150544"/>
              <a:gd name="connsiteX0" fmla="*/ 0 w 2772041"/>
              <a:gd name="connsiteY0" fmla="*/ 1656 h 3150544"/>
              <a:gd name="connsiteX1" fmla="*/ 2769627 w 2772041"/>
              <a:gd name="connsiteY1" fmla="*/ 0 h 3150544"/>
              <a:gd name="connsiteX2" fmla="*/ 2772041 w 2772041"/>
              <a:gd name="connsiteY2" fmla="*/ 3150544 h 3150544"/>
              <a:gd name="connsiteX3" fmla="*/ 579722 w 2772041"/>
              <a:gd name="connsiteY3" fmla="*/ 3128747 h 3150544"/>
              <a:gd name="connsiteX4" fmla="*/ 0 w 2772041"/>
              <a:gd name="connsiteY4" fmla="*/ 2549025 h 3150544"/>
              <a:gd name="connsiteX5" fmla="*/ 0 w 2772041"/>
              <a:gd name="connsiteY5" fmla="*/ 1656 h 3150544"/>
              <a:gd name="connsiteX0" fmla="*/ 0 w 2772041"/>
              <a:gd name="connsiteY0" fmla="*/ 1656 h 3138969"/>
              <a:gd name="connsiteX1" fmla="*/ 2769627 w 2772041"/>
              <a:gd name="connsiteY1" fmla="*/ 0 h 3138969"/>
              <a:gd name="connsiteX2" fmla="*/ 2772041 w 2772041"/>
              <a:gd name="connsiteY2" fmla="*/ 3138969 h 3138969"/>
              <a:gd name="connsiteX3" fmla="*/ 579722 w 2772041"/>
              <a:gd name="connsiteY3" fmla="*/ 3128747 h 3138969"/>
              <a:gd name="connsiteX4" fmla="*/ 0 w 2772041"/>
              <a:gd name="connsiteY4" fmla="*/ 2549025 h 3138969"/>
              <a:gd name="connsiteX5" fmla="*/ 0 w 2772041"/>
              <a:gd name="connsiteY5" fmla="*/ 1656 h 313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72041" h="3138969">
                <a:moveTo>
                  <a:pt x="0" y="1656"/>
                </a:moveTo>
                <a:lnTo>
                  <a:pt x="2769627" y="0"/>
                </a:lnTo>
                <a:cubicBezTo>
                  <a:pt x="2770532" y="2146807"/>
                  <a:pt x="2771136" y="992162"/>
                  <a:pt x="2772041" y="3138969"/>
                </a:cubicBezTo>
                <a:lnTo>
                  <a:pt x="579722" y="3128747"/>
                </a:lnTo>
                <a:cubicBezTo>
                  <a:pt x="259550" y="3128747"/>
                  <a:pt x="0" y="2869197"/>
                  <a:pt x="0" y="2549025"/>
                </a:cubicBezTo>
                <a:lnTo>
                  <a:pt x="0" y="1656"/>
                </a:ln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marR="0" indent="0" algn="l" defTabSz="68561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 sz="1050">
                <a:solidFill>
                  <a:schemeClr val="tx1"/>
                </a:solidFill>
              </a:defRPr>
            </a:lvl1pPr>
          </a:lstStyle>
          <a:p>
            <a:pPr marL="0" marR="0" lvl="0" indent="0" algn="l" defTabSz="68561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JP"/>
              <a:t>Insert Picture/Text Block</a:t>
            </a:r>
          </a:p>
          <a:p>
            <a:endParaRPr lang="en-JP"/>
          </a:p>
        </p:txBody>
      </p:sp>
      <p:sp>
        <p:nvSpPr>
          <p:cNvPr id="23" name="Picture Placeholder 9">
            <a:extLst>
              <a:ext uri="{FF2B5EF4-FFF2-40B4-BE49-F238E27FC236}">
                <a16:creationId xmlns:a16="http://schemas.microsoft.com/office/drawing/2014/main" id="{8D6B3691-FCAC-8A46-AA30-DEB2A719C7B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54559" y="3076287"/>
            <a:ext cx="1926218" cy="3138969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18553"/>
              <a:gd name="connsiteX1" fmla="*/ 8912928 w 8915642"/>
              <a:gd name="connsiteY1" fmla="*/ 176478 h 6618553"/>
              <a:gd name="connsiteX2" fmla="*/ 8915642 w 8915642"/>
              <a:gd name="connsiteY2" fmla="*/ 6616899 h 6618553"/>
              <a:gd name="connsiteX3" fmla="*/ 579722 w 8915642"/>
              <a:gd name="connsiteY3" fmla="*/ 6618553 h 6618553"/>
              <a:gd name="connsiteX4" fmla="*/ 0 w 8915642"/>
              <a:gd name="connsiteY4" fmla="*/ 6038831 h 6618553"/>
              <a:gd name="connsiteX5" fmla="*/ 0 w 8915642"/>
              <a:gd name="connsiteY5" fmla="*/ 1 h 6618553"/>
              <a:gd name="connsiteX0" fmla="*/ 0 w 8915642"/>
              <a:gd name="connsiteY0" fmla="*/ 25404 h 6643956"/>
              <a:gd name="connsiteX1" fmla="*/ 6015348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25404 h 6643956"/>
              <a:gd name="connsiteX0" fmla="*/ 0 w 8915642"/>
              <a:gd name="connsiteY0" fmla="*/ 1653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1653 h 6620205"/>
              <a:gd name="connsiteX0" fmla="*/ 0 w 8915642"/>
              <a:gd name="connsiteY0" fmla="*/ 96656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96656 h 6620205"/>
              <a:gd name="connsiteX0" fmla="*/ 0 w 8915642"/>
              <a:gd name="connsiteY0" fmla="*/ 0 h 6642302"/>
              <a:gd name="connsiteX1" fmla="*/ 6003473 w 8915642"/>
              <a:gd name="connsiteY1" fmla="*/ 22097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0 h 6642302"/>
              <a:gd name="connsiteX1" fmla="*/ 5932221 w 8915642"/>
              <a:gd name="connsiteY1" fmla="*/ 152725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1654 h 6643956"/>
              <a:gd name="connsiteX1" fmla="*/ 6003473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1654 h 6643956"/>
              <a:gd name="connsiteX0" fmla="*/ 0 w 6018062"/>
              <a:gd name="connsiteY0" fmla="*/ 1654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1654 h 6654178"/>
              <a:gd name="connsiteX0" fmla="*/ 0 w 6018062"/>
              <a:gd name="connsiteY0" fmla="*/ 203535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203535 h 6654178"/>
              <a:gd name="connsiteX0" fmla="*/ 0 w 6018062"/>
              <a:gd name="connsiteY0" fmla="*/ 1655 h 6452298"/>
              <a:gd name="connsiteX1" fmla="*/ 4055920 w 6018062"/>
              <a:gd name="connsiteY1" fmla="*/ 0 h 6452298"/>
              <a:gd name="connsiteX2" fmla="*/ 6018062 w 6018062"/>
              <a:gd name="connsiteY2" fmla="*/ 6452298 h 6452298"/>
              <a:gd name="connsiteX3" fmla="*/ 579722 w 6018062"/>
              <a:gd name="connsiteY3" fmla="*/ 6442076 h 6452298"/>
              <a:gd name="connsiteX4" fmla="*/ 0 w 6018062"/>
              <a:gd name="connsiteY4" fmla="*/ 5862354 h 6452298"/>
              <a:gd name="connsiteX5" fmla="*/ 0 w 6018062"/>
              <a:gd name="connsiteY5" fmla="*/ 1655 h 6452298"/>
              <a:gd name="connsiteX0" fmla="*/ 0 w 4055973"/>
              <a:gd name="connsiteY0" fmla="*/ 1655 h 6452298"/>
              <a:gd name="connsiteX1" fmla="*/ 4055920 w 4055973"/>
              <a:gd name="connsiteY1" fmla="*/ 0 h 6452298"/>
              <a:gd name="connsiteX2" fmla="*/ 4046758 w 4055973"/>
              <a:gd name="connsiteY2" fmla="*/ 6452298 h 6452298"/>
              <a:gd name="connsiteX3" fmla="*/ 579722 w 4055973"/>
              <a:gd name="connsiteY3" fmla="*/ 6442076 h 6452298"/>
              <a:gd name="connsiteX4" fmla="*/ 0 w 4055973"/>
              <a:gd name="connsiteY4" fmla="*/ 5862354 h 6452298"/>
              <a:gd name="connsiteX5" fmla="*/ 0 w 4055973"/>
              <a:gd name="connsiteY5" fmla="*/ 1655 h 6452298"/>
              <a:gd name="connsiteX0" fmla="*/ 0 w 4055973"/>
              <a:gd name="connsiteY0" fmla="*/ 0 h 6652523"/>
              <a:gd name="connsiteX1" fmla="*/ 4055920 w 4055973"/>
              <a:gd name="connsiteY1" fmla="*/ 200225 h 6652523"/>
              <a:gd name="connsiteX2" fmla="*/ 4046758 w 4055973"/>
              <a:gd name="connsiteY2" fmla="*/ 6652523 h 6652523"/>
              <a:gd name="connsiteX3" fmla="*/ 579722 w 4055973"/>
              <a:gd name="connsiteY3" fmla="*/ 6642301 h 6652523"/>
              <a:gd name="connsiteX4" fmla="*/ 0 w 4055973"/>
              <a:gd name="connsiteY4" fmla="*/ 6062579 h 6652523"/>
              <a:gd name="connsiteX5" fmla="*/ 0 w 4055973"/>
              <a:gd name="connsiteY5" fmla="*/ 0 h 6652523"/>
              <a:gd name="connsiteX0" fmla="*/ 0 w 4046758"/>
              <a:gd name="connsiteY0" fmla="*/ 0 h 6652523"/>
              <a:gd name="connsiteX1" fmla="*/ 4044045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1655 h 6654178"/>
              <a:gd name="connsiteX1" fmla="*/ 3082144 w 4046758"/>
              <a:gd name="connsiteY1" fmla="*/ 0 h 6654178"/>
              <a:gd name="connsiteX2" fmla="*/ 4046758 w 4046758"/>
              <a:gd name="connsiteY2" fmla="*/ 6654178 h 6654178"/>
              <a:gd name="connsiteX3" fmla="*/ 579722 w 4046758"/>
              <a:gd name="connsiteY3" fmla="*/ 6643956 h 6654178"/>
              <a:gd name="connsiteX4" fmla="*/ 0 w 4046758"/>
              <a:gd name="connsiteY4" fmla="*/ 6064234 h 6654178"/>
              <a:gd name="connsiteX5" fmla="*/ 0 w 4046758"/>
              <a:gd name="connsiteY5" fmla="*/ 1655 h 6654178"/>
              <a:gd name="connsiteX0" fmla="*/ 0 w 4046758"/>
              <a:gd name="connsiteY0" fmla="*/ 0 h 6652523"/>
              <a:gd name="connsiteX1" fmla="*/ 2975266 w 4046758"/>
              <a:gd name="connsiteY1" fmla="*/ 93348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70268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82144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3082197"/>
              <a:gd name="connsiteY0" fmla="*/ 0 h 6652523"/>
              <a:gd name="connsiteX1" fmla="*/ 3082144 w 3082197"/>
              <a:gd name="connsiteY1" fmla="*/ 10220 h 6652523"/>
              <a:gd name="connsiteX2" fmla="*/ 3072982 w 3082197"/>
              <a:gd name="connsiteY2" fmla="*/ 6652523 h 6652523"/>
              <a:gd name="connsiteX3" fmla="*/ 579722 w 3082197"/>
              <a:gd name="connsiteY3" fmla="*/ 6642301 h 6652523"/>
              <a:gd name="connsiteX4" fmla="*/ 0 w 3082197"/>
              <a:gd name="connsiteY4" fmla="*/ 6062579 h 6652523"/>
              <a:gd name="connsiteX5" fmla="*/ 0 w 3082197"/>
              <a:gd name="connsiteY5" fmla="*/ 0 h 6652523"/>
              <a:gd name="connsiteX0" fmla="*/ 0 w 3072982"/>
              <a:gd name="connsiteY0" fmla="*/ 0 h 6652523"/>
              <a:gd name="connsiteX1" fmla="*/ 3010892 w 3072982"/>
              <a:gd name="connsiteY1" fmla="*/ 164599 h 6652523"/>
              <a:gd name="connsiteX2" fmla="*/ 3072982 w 3072982"/>
              <a:gd name="connsiteY2" fmla="*/ 6652523 h 6652523"/>
              <a:gd name="connsiteX3" fmla="*/ 579722 w 3072982"/>
              <a:gd name="connsiteY3" fmla="*/ 6642301 h 6652523"/>
              <a:gd name="connsiteX4" fmla="*/ 0 w 3072982"/>
              <a:gd name="connsiteY4" fmla="*/ 6062579 h 6652523"/>
              <a:gd name="connsiteX5" fmla="*/ 0 w 3072982"/>
              <a:gd name="connsiteY5" fmla="*/ 0 h 6652523"/>
              <a:gd name="connsiteX0" fmla="*/ 0 w 3082197"/>
              <a:gd name="connsiteY0" fmla="*/ 1656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656 h 6654179"/>
              <a:gd name="connsiteX0" fmla="*/ 0 w 3082197"/>
              <a:gd name="connsiteY0" fmla="*/ 1316107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316107 h 6654179"/>
              <a:gd name="connsiteX0" fmla="*/ 0 w 3082197"/>
              <a:gd name="connsiteY0" fmla="*/ 1657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1657 h 5339729"/>
              <a:gd name="connsiteX0" fmla="*/ 0 w 3082197"/>
              <a:gd name="connsiteY0" fmla="*/ 2202416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2202416 h 5339729"/>
              <a:gd name="connsiteX0" fmla="*/ 0 w 3082197"/>
              <a:gd name="connsiteY0" fmla="*/ 1656 h 3138969"/>
              <a:gd name="connsiteX1" fmla="*/ 3082144 w 3082197"/>
              <a:gd name="connsiteY1" fmla="*/ 0 h 3138969"/>
              <a:gd name="connsiteX2" fmla="*/ 3072982 w 3082197"/>
              <a:gd name="connsiteY2" fmla="*/ 3138969 h 3138969"/>
              <a:gd name="connsiteX3" fmla="*/ 579722 w 3082197"/>
              <a:gd name="connsiteY3" fmla="*/ 3128747 h 3138969"/>
              <a:gd name="connsiteX4" fmla="*/ 0 w 3082197"/>
              <a:gd name="connsiteY4" fmla="*/ 2549025 h 3138969"/>
              <a:gd name="connsiteX5" fmla="*/ 0 w 3082197"/>
              <a:gd name="connsiteY5" fmla="*/ 1656 h 3138969"/>
              <a:gd name="connsiteX0" fmla="*/ 0 w 3082145"/>
              <a:gd name="connsiteY0" fmla="*/ 1656 h 3150544"/>
              <a:gd name="connsiteX1" fmla="*/ 3082144 w 3082145"/>
              <a:gd name="connsiteY1" fmla="*/ 0 h 3150544"/>
              <a:gd name="connsiteX2" fmla="*/ 2772041 w 3082145"/>
              <a:gd name="connsiteY2" fmla="*/ 3150544 h 3150544"/>
              <a:gd name="connsiteX3" fmla="*/ 579722 w 3082145"/>
              <a:gd name="connsiteY3" fmla="*/ 3128747 h 3150544"/>
              <a:gd name="connsiteX4" fmla="*/ 0 w 3082145"/>
              <a:gd name="connsiteY4" fmla="*/ 2549025 h 3150544"/>
              <a:gd name="connsiteX5" fmla="*/ 0 w 3082145"/>
              <a:gd name="connsiteY5" fmla="*/ 1656 h 3150544"/>
              <a:gd name="connsiteX0" fmla="*/ 0 w 2772041"/>
              <a:gd name="connsiteY0" fmla="*/ 1656 h 3150544"/>
              <a:gd name="connsiteX1" fmla="*/ 2769627 w 2772041"/>
              <a:gd name="connsiteY1" fmla="*/ 0 h 3150544"/>
              <a:gd name="connsiteX2" fmla="*/ 2772041 w 2772041"/>
              <a:gd name="connsiteY2" fmla="*/ 3150544 h 3150544"/>
              <a:gd name="connsiteX3" fmla="*/ 579722 w 2772041"/>
              <a:gd name="connsiteY3" fmla="*/ 3128747 h 3150544"/>
              <a:gd name="connsiteX4" fmla="*/ 0 w 2772041"/>
              <a:gd name="connsiteY4" fmla="*/ 2549025 h 3150544"/>
              <a:gd name="connsiteX5" fmla="*/ 0 w 2772041"/>
              <a:gd name="connsiteY5" fmla="*/ 1656 h 3150544"/>
              <a:gd name="connsiteX0" fmla="*/ 0 w 2772041"/>
              <a:gd name="connsiteY0" fmla="*/ 1656 h 3138969"/>
              <a:gd name="connsiteX1" fmla="*/ 2769627 w 2772041"/>
              <a:gd name="connsiteY1" fmla="*/ 0 h 3138969"/>
              <a:gd name="connsiteX2" fmla="*/ 2772041 w 2772041"/>
              <a:gd name="connsiteY2" fmla="*/ 3138969 h 3138969"/>
              <a:gd name="connsiteX3" fmla="*/ 579722 w 2772041"/>
              <a:gd name="connsiteY3" fmla="*/ 3128747 h 3138969"/>
              <a:gd name="connsiteX4" fmla="*/ 0 w 2772041"/>
              <a:gd name="connsiteY4" fmla="*/ 2549025 h 3138969"/>
              <a:gd name="connsiteX5" fmla="*/ 0 w 2772041"/>
              <a:gd name="connsiteY5" fmla="*/ 1656 h 313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72041" h="3138969">
                <a:moveTo>
                  <a:pt x="0" y="1656"/>
                </a:moveTo>
                <a:lnTo>
                  <a:pt x="2769627" y="0"/>
                </a:lnTo>
                <a:cubicBezTo>
                  <a:pt x="2770532" y="2146807"/>
                  <a:pt x="2771136" y="992162"/>
                  <a:pt x="2772041" y="3138969"/>
                </a:cubicBezTo>
                <a:lnTo>
                  <a:pt x="579722" y="3128747"/>
                </a:lnTo>
                <a:cubicBezTo>
                  <a:pt x="259550" y="3128747"/>
                  <a:pt x="0" y="2869197"/>
                  <a:pt x="0" y="2549025"/>
                </a:cubicBezTo>
                <a:lnTo>
                  <a:pt x="0" y="1656"/>
                </a:ln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JP"/>
              <a:t>Insert Picture/Text Block</a:t>
            </a:r>
          </a:p>
        </p:txBody>
      </p:sp>
      <p:sp>
        <p:nvSpPr>
          <p:cNvPr id="24" name="Picture Placeholder 9">
            <a:extLst>
              <a:ext uri="{FF2B5EF4-FFF2-40B4-BE49-F238E27FC236}">
                <a16:creationId xmlns:a16="http://schemas.microsoft.com/office/drawing/2014/main" id="{AA8F528A-C9DE-0B46-881A-43E0F9B6F67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2555209" y="3076287"/>
            <a:ext cx="1926218" cy="3138969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18553"/>
              <a:gd name="connsiteX1" fmla="*/ 8912928 w 8915642"/>
              <a:gd name="connsiteY1" fmla="*/ 176478 h 6618553"/>
              <a:gd name="connsiteX2" fmla="*/ 8915642 w 8915642"/>
              <a:gd name="connsiteY2" fmla="*/ 6616899 h 6618553"/>
              <a:gd name="connsiteX3" fmla="*/ 579722 w 8915642"/>
              <a:gd name="connsiteY3" fmla="*/ 6618553 h 6618553"/>
              <a:gd name="connsiteX4" fmla="*/ 0 w 8915642"/>
              <a:gd name="connsiteY4" fmla="*/ 6038831 h 6618553"/>
              <a:gd name="connsiteX5" fmla="*/ 0 w 8915642"/>
              <a:gd name="connsiteY5" fmla="*/ 1 h 6618553"/>
              <a:gd name="connsiteX0" fmla="*/ 0 w 8915642"/>
              <a:gd name="connsiteY0" fmla="*/ 25404 h 6643956"/>
              <a:gd name="connsiteX1" fmla="*/ 6015348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25404 h 6643956"/>
              <a:gd name="connsiteX0" fmla="*/ 0 w 8915642"/>
              <a:gd name="connsiteY0" fmla="*/ 1653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1653 h 6620205"/>
              <a:gd name="connsiteX0" fmla="*/ 0 w 8915642"/>
              <a:gd name="connsiteY0" fmla="*/ 96656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96656 h 6620205"/>
              <a:gd name="connsiteX0" fmla="*/ 0 w 8915642"/>
              <a:gd name="connsiteY0" fmla="*/ 0 h 6642302"/>
              <a:gd name="connsiteX1" fmla="*/ 6003473 w 8915642"/>
              <a:gd name="connsiteY1" fmla="*/ 22097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0 h 6642302"/>
              <a:gd name="connsiteX1" fmla="*/ 5932221 w 8915642"/>
              <a:gd name="connsiteY1" fmla="*/ 152725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1654 h 6643956"/>
              <a:gd name="connsiteX1" fmla="*/ 6003473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1654 h 6643956"/>
              <a:gd name="connsiteX0" fmla="*/ 0 w 6018062"/>
              <a:gd name="connsiteY0" fmla="*/ 1654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1654 h 6654178"/>
              <a:gd name="connsiteX0" fmla="*/ 0 w 6018062"/>
              <a:gd name="connsiteY0" fmla="*/ 203535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203535 h 6654178"/>
              <a:gd name="connsiteX0" fmla="*/ 0 w 6018062"/>
              <a:gd name="connsiteY0" fmla="*/ 1655 h 6452298"/>
              <a:gd name="connsiteX1" fmla="*/ 4055920 w 6018062"/>
              <a:gd name="connsiteY1" fmla="*/ 0 h 6452298"/>
              <a:gd name="connsiteX2" fmla="*/ 6018062 w 6018062"/>
              <a:gd name="connsiteY2" fmla="*/ 6452298 h 6452298"/>
              <a:gd name="connsiteX3" fmla="*/ 579722 w 6018062"/>
              <a:gd name="connsiteY3" fmla="*/ 6442076 h 6452298"/>
              <a:gd name="connsiteX4" fmla="*/ 0 w 6018062"/>
              <a:gd name="connsiteY4" fmla="*/ 5862354 h 6452298"/>
              <a:gd name="connsiteX5" fmla="*/ 0 w 6018062"/>
              <a:gd name="connsiteY5" fmla="*/ 1655 h 6452298"/>
              <a:gd name="connsiteX0" fmla="*/ 0 w 4055973"/>
              <a:gd name="connsiteY0" fmla="*/ 1655 h 6452298"/>
              <a:gd name="connsiteX1" fmla="*/ 4055920 w 4055973"/>
              <a:gd name="connsiteY1" fmla="*/ 0 h 6452298"/>
              <a:gd name="connsiteX2" fmla="*/ 4046758 w 4055973"/>
              <a:gd name="connsiteY2" fmla="*/ 6452298 h 6452298"/>
              <a:gd name="connsiteX3" fmla="*/ 579722 w 4055973"/>
              <a:gd name="connsiteY3" fmla="*/ 6442076 h 6452298"/>
              <a:gd name="connsiteX4" fmla="*/ 0 w 4055973"/>
              <a:gd name="connsiteY4" fmla="*/ 5862354 h 6452298"/>
              <a:gd name="connsiteX5" fmla="*/ 0 w 4055973"/>
              <a:gd name="connsiteY5" fmla="*/ 1655 h 6452298"/>
              <a:gd name="connsiteX0" fmla="*/ 0 w 4055973"/>
              <a:gd name="connsiteY0" fmla="*/ 0 h 6652523"/>
              <a:gd name="connsiteX1" fmla="*/ 4055920 w 4055973"/>
              <a:gd name="connsiteY1" fmla="*/ 200225 h 6652523"/>
              <a:gd name="connsiteX2" fmla="*/ 4046758 w 4055973"/>
              <a:gd name="connsiteY2" fmla="*/ 6652523 h 6652523"/>
              <a:gd name="connsiteX3" fmla="*/ 579722 w 4055973"/>
              <a:gd name="connsiteY3" fmla="*/ 6642301 h 6652523"/>
              <a:gd name="connsiteX4" fmla="*/ 0 w 4055973"/>
              <a:gd name="connsiteY4" fmla="*/ 6062579 h 6652523"/>
              <a:gd name="connsiteX5" fmla="*/ 0 w 4055973"/>
              <a:gd name="connsiteY5" fmla="*/ 0 h 6652523"/>
              <a:gd name="connsiteX0" fmla="*/ 0 w 4046758"/>
              <a:gd name="connsiteY0" fmla="*/ 0 h 6652523"/>
              <a:gd name="connsiteX1" fmla="*/ 4044045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1655 h 6654178"/>
              <a:gd name="connsiteX1" fmla="*/ 3082144 w 4046758"/>
              <a:gd name="connsiteY1" fmla="*/ 0 h 6654178"/>
              <a:gd name="connsiteX2" fmla="*/ 4046758 w 4046758"/>
              <a:gd name="connsiteY2" fmla="*/ 6654178 h 6654178"/>
              <a:gd name="connsiteX3" fmla="*/ 579722 w 4046758"/>
              <a:gd name="connsiteY3" fmla="*/ 6643956 h 6654178"/>
              <a:gd name="connsiteX4" fmla="*/ 0 w 4046758"/>
              <a:gd name="connsiteY4" fmla="*/ 6064234 h 6654178"/>
              <a:gd name="connsiteX5" fmla="*/ 0 w 4046758"/>
              <a:gd name="connsiteY5" fmla="*/ 1655 h 6654178"/>
              <a:gd name="connsiteX0" fmla="*/ 0 w 4046758"/>
              <a:gd name="connsiteY0" fmla="*/ 0 h 6652523"/>
              <a:gd name="connsiteX1" fmla="*/ 2975266 w 4046758"/>
              <a:gd name="connsiteY1" fmla="*/ 93348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70268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82144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3082197"/>
              <a:gd name="connsiteY0" fmla="*/ 0 h 6652523"/>
              <a:gd name="connsiteX1" fmla="*/ 3082144 w 3082197"/>
              <a:gd name="connsiteY1" fmla="*/ 10220 h 6652523"/>
              <a:gd name="connsiteX2" fmla="*/ 3072982 w 3082197"/>
              <a:gd name="connsiteY2" fmla="*/ 6652523 h 6652523"/>
              <a:gd name="connsiteX3" fmla="*/ 579722 w 3082197"/>
              <a:gd name="connsiteY3" fmla="*/ 6642301 h 6652523"/>
              <a:gd name="connsiteX4" fmla="*/ 0 w 3082197"/>
              <a:gd name="connsiteY4" fmla="*/ 6062579 h 6652523"/>
              <a:gd name="connsiteX5" fmla="*/ 0 w 3082197"/>
              <a:gd name="connsiteY5" fmla="*/ 0 h 6652523"/>
              <a:gd name="connsiteX0" fmla="*/ 0 w 3072982"/>
              <a:gd name="connsiteY0" fmla="*/ 0 h 6652523"/>
              <a:gd name="connsiteX1" fmla="*/ 3010892 w 3072982"/>
              <a:gd name="connsiteY1" fmla="*/ 164599 h 6652523"/>
              <a:gd name="connsiteX2" fmla="*/ 3072982 w 3072982"/>
              <a:gd name="connsiteY2" fmla="*/ 6652523 h 6652523"/>
              <a:gd name="connsiteX3" fmla="*/ 579722 w 3072982"/>
              <a:gd name="connsiteY3" fmla="*/ 6642301 h 6652523"/>
              <a:gd name="connsiteX4" fmla="*/ 0 w 3072982"/>
              <a:gd name="connsiteY4" fmla="*/ 6062579 h 6652523"/>
              <a:gd name="connsiteX5" fmla="*/ 0 w 3072982"/>
              <a:gd name="connsiteY5" fmla="*/ 0 h 6652523"/>
              <a:gd name="connsiteX0" fmla="*/ 0 w 3082197"/>
              <a:gd name="connsiteY0" fmla="*/ 1656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656 h 6654179"/>
              <a:gd name="connsiteX0" fmla="*/ 0 w 3082197"/>
              <a:gd name="connsiteY0" fmla="*/ 1316107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316107 h 6654179"/>
              <a:gd name="connsiteX0" fmla="*/ 0 w 3082197"/>
              <a:gd name="connsiteY0" fmla="*/ 1657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1657 h 5339729"/>
              <a:gd name="connsiteX0" fmla="*/ 0 w 3082197"/>
              <a:gd name="connsiteY0" fmla="*/ 2202416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2202416 h 5339729"/>
              <a:gd name="connsiteX0" fmla="*/ 0 w 3082197"/>
              <a:gd name="connsiteY0" fmla="*/ 1656 h 3138969"/>
              <a:gd name="connsiteX1" fmla="*/ 3082144 w 3082197"/>
              <a:gd name="connsiteY1" fmla="*/ 0 h 3138969"/>
              <a:gd name="connsiteX2" fmla="*/ 3072982 w 3082197"/>
              <a:gd name="connsiteY2" fmla="*/ 3138969 h 3138969"/>
              <a:gd name="connsiteX3" fmla="*/ 579722 w 3082197"/>
              <a:gd name="connsiteY3" fmla="*/ 3128747 h 3138969"/>
              <a:gd name="connsiteX4" fmla="*/ 0 w 3082197"/>
              <a:gd name="connsiteY4" fmla="*/ 2549025 h 3138969"/>
              <a:gd name="connsiteX5" fmla="*/ 0 w 3082197"/>
              <a:gd name="connsiteY5" fmla="*/ 1656 h 3138969"/>
              <a:gd name="connsiteX0" fmla="*/ 0 w 3082145"/>
              <a:gd name="connsiteY0" fmla="*/ 1656 h 3150544"/>
              <a:gd name="connsiteX1" fmla="*/ 3082144 w 3082145"/>
              <a:gd name="connsiteY1" fmla="*/ 0 h 3150544"/>
              <a:gd name="connsiteX2" fmla="*/ 2772041 w 3082145"/>
              <a:gd name="connsiteY2" fmla="*/ 3150544 h 3150544"/>
              <a:gd name="connsiteX3" fmla="*/ 579722 w 3082145"/>
              <a:gd name="connsiteY3" fmla="*/ 3128747 h 3150544"/>
              <a:gd name="connsiteX4" fmla="*/ 0 w 3082145"/>
              <a:gd name="connsiteY4" fmla="*/ 2549025 h 3150544"/>
              <a:gd name="connsiteX5" fmla="*/ 0 w 3082145"/>
              <a:gd name="connsiteY5" fmla="*/ 1656 h 3150544"/>
              <a:gd name="connsiteX0" fmla="*/ 0 w 2772041"/>
              <a:gd name="connsiteY0" fmla="*/ 1656 h 3150544"/>
              <a:gd name="connsiteX1" fmla="*/ 2769627 w 2772041"/>
              <a:gd name="connsiteY1" fmla="*/ 0 h 3150544"/>
              <a:gd name="connsiteX2" fmla="*/ 2772041 w 2772041"/>
              <a:gd name="connsiteY2" fmla="*/ 3150544 h 3150544"/>
              <a:gd name="connsiteX3" fmla="*/ 579722 w 2772041"/>
              <a:gd name="connsiteY3" fmla="*/ 3128747 h 3150544"/>
              <a:gd name="connsiteX4" fmla="*/ 0 w 2772041"/>
              <a:gd name="connsiteY4" fmla="*/ 2549025 h 3150544"/>
              <a:gd name="connsiteX5" fmla="*/ 0 w 2772041"/>
              <a:gd name="connsiteY5" fmla="*/ 1656 h 3150544"/>
              <a:gd name="connsiteX0" fmla="*/ 0 w 2772041"/>
              <a:gd name="connsiteY0" fmla="*/ 1656 h 3138969"/>
              <a:gd name="connsiteX1" fmla="*/ 2769627 w 2772041"/>
              <a:gd name="connsiteY1" fmla="*/ 0 h 3138969"/>
              <a:gd name="connsiteX2" fmla="*/ 2772041 w 2772041"/>
              <a:gd name="connsiteY2" fmla="*/ 3138969 h 3138969"/>
              <a:gd name="connsiteX3" fmla="*/ 579722 w 2772041"/>
              <a:gd name="connsiteY3" fmla="*/ 3128747 h 3138969"/>
              <a:gd name="connsiteX4" fmla="*/ 0 w 2772041"/>
              <a:gd name="connsiteY4" fmla="*/ 2549025 h 3138969"/>
              <a:gd name="connsiteX5" fmla="*/ 0 w 2772041"/>
              <a:gd name="connsiteY5" fmla="*/ 1656 h 313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72041" h="3138969">
                <a:moveTo>
                  <a:pt x="0" y="1656"/>
                </a:moveTo>
                <a:lnTo>
                  <a:pt x="2769627" y="0"/>
                </a:lnTo>
                <a:cubicBezTo>
                  <a:pt x="2770532" y="2146807"/>
                  <a:pt x="2771136" y="992162"/>
                  <a:pt x="2772041" y="3138969"/>
                </a:cubicBezTo>
                <a:lnTo>
                  <a:pt x="579722" y="3128747"/>
                </a:lnTo>
                <a:cubicBezTo>
                  <a:pt x="259550" y="3128747"/>
                  <a:pt x="0" y="2869197"/>
                  <a:pt x="0" y="2549025"/>
                </a:cubicBezTo>
                <a:lnTo>
                  <a:pt x="0" y="1656"/>
                </a:ln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JP"/>
              <a:t>Insert Picture/Text Block</a:t>
            </a:r>
          </a:p>
        </p:txBody>
      </p:sp>
      <p:sp>
        <p:nvSpPr>
          <p:cNvPr id="25" name="Picture Placeholder 9">
            <a:extLst>
              <a:ext uri="{FF2B5EF4-FFF2-40B4-BE49-F238E27FC236}">
                <a16:creationId xmlns:a16="http://schemas.microsoft.com/office/drawing/2014/main" id="{E01CF285-75D7-154A-ACF2-9393FB0B38D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670887" y="3076287"/>
            <a:ext cx="1926218" cy="3138969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18553"/>
              <a:gd name="connsiteX1" fmla="*/ 8912928 w 8915642"/>
              <a:gd name="connsiteY1" fmla="*/ 176478 h 6618553"/>
              <a:gd name="connsiteX2" fmla="*/ 8915642 w 8915642"/>
              <a:gd name="connsiteY2" fmla="*/ 6616899 h 6618553"/>
              <a:gd name="connsiteX3" fmla="*/ 579722 w 8915642"/>
              <a:gd name="connsiteY3" fmla="*/ 6618553 h 6618553"/>
              <a:gd name="connsiteX4" fmla="*/ 0 w 8915642"/>
              <a:gd name="connsiteY4" fmla="*/ 6038831 h 6618553"/>
              <a:gd name="connsiteX5" fmla="*/ 0 w 8915642"/>
              <a:gd name="connsiteY5" fmla="*/ 1 h 6618553"/>
              <a:gd name="connsiteX0" fmla="*/ 0 w 8915642"/>
              <a:gd name="connsiteY0" fmla="*/ 25404 h 6643956"/>
              <a:gd name="connsiteX1" fmla="*/ 6015348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25404 h 6643956"/>
              <a:gd name="connsiteX0" fmla="*/ 0 w 8915642"/>
              <a:gd name="connsiteY0" fmla="*/ 1653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1653 h 6620205"/>
              <a:gd name="connsiteX0" fmla="*/ 0 w 8915642"/>
              <a:gd name="connsiteY0" fmla="*/ 96656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96656 h 6620205"/>
              <a:gd name="connsiteX0" fmla="*/ 0 w 8915642"/>
              <a:gd name="connsiteY0" fmla="*/ 0 h 6642302"/>
              <a:gd name="connsiteX1" fmla="*/ 6003473 w 8915642"/>
              <a:gd name="connsiteY1" fmla="*/ 22097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0 h 6642302"/>
              <a:gd name="connsiteX1" fmla="*/ 5932221 w 8915642"/>
              <a:gd name="connsiteY1" fmla="*/ 152725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1654 h 6643956"/>
              <a:gd name="connsiteX1" fmla="*/ 6003473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1654 h 6643956"/>
              <a:gd name="connsiteX0" fmla="*/ 0 w 6018062"/>
              <a:gd name="connsiteY0" fmla="*/ 1654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1654 h 6654178"/>
              <a:gd name="connsiteX0" fmla="*/ 0 w 6018062"/>
              <a:gd name="connsiteY0" fmla="*/ 203535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203535 h 6654178"/>
              <a:gd name="connsiteX0" fmla="*/ 0 w 6018062"/>
              <a:gd name="connsiteY0" fmla="*/ 1655 h 6452298"/>
              <a:gd name="connsiteX1" fmla="*/ 4055920 w 6018062"/>
              <a:gd name="connsiteY1" fmla="*/ 0 h 6452298"/>
              <a:gd name="connsiteX2" fmla="*/ 6018062 w 6018062"/>
              <a:gd name="connsiteY2" fmla="*/ 6452298 h 6452298"/>
              <a:gd name="connsiteX3" fmla="*/ 579722 w 6018062"/>
              <a:gd name="connsiteY3" fmla="*/ 6442076 h 6452298"/>
              <a:gd name="connsiteX4" fmla="*/ 0 w 6018062"/>
              <a:gd name="connsiteY4" fmla="*/ 5862354 h 6452298"/>
              <a:gd name="connsiteX5" fmla="*/ 0 w 6018062"/>
              <a:gd name="connsiteY5" fmla="*/ 1655 h 6452298"/>
              <a:gd name="connsiteX0" fmla="*/ 0 w 4055973"/>
              <a:gd name="connsiteY0" fmla="*/ 1655 h 6452298"/>
              <a:gd name="connsiteX1" fmla="*/ 4055920 w 4055973"/>
              <a:gd name="connsiteY1" fmla="*/ 0 h 6452298"/>
              <a:gd name="connsiteX2" fmla="*/ 4046758 w 4055973"/>
              <a:gd name="connsiteY2" fmla="*/ 6452298 h 6452298"/>
              <a:gd name="connsiteX3" fmla="*/ 579722 w 4055973"/>
              <a:gd name="connsiteY3" fmla="*/ 6442076 h 6452298"/>
              <a:gd name="connsiteX4" fmla="*/ 0 w 4055973"/>
              <a:gd name="connsiteY4" fmla="*/ 5862354 h 6452298"/>
              <a:gd name="connsiteX5" fmla="*/ 0 w 4055973"/>
              <a:gd name="connsiteY5" fmla="*/ 1655 h 6452298"/>
              <a:gd name="connsiteX0" fmla="*/ 0 w 4055973"/>
              <a:gd name="connsiteY0" fmla="*/ 0 h 6652523"/>
              <a:gd name="connsiteX1" fmla="*/ 4055920 w 4055973"/>
              <a:gd name="connsiteY1" fmla="*/ 200225 h 6652523"/>
              <a:gd name="connsiteX2" fmla="*/ 4046758 w 4055973"/>
              <a:gd name="connsiteY2" fmla="*/ 6652523 h 6652523"/>
              <a:gd name="connsiteX3" fmla="*/ 579722 w 4055973"/>
              <a:gd name="connsiteY3" fmla="*/ 6642301 h 6652523"/>
              <a:gd name="connsiteX4" fmla="*/ 0 w 4055973"/>
              <a:gd name="connsiteY4" fmla="*/ 6062579 h 6652523"/>
              <a:gd name="connsiteX5" fmla="*/ 0 w 4055973"/>
              <a:gd name="connsiteY5" fmla="*/ 0 h 6652523"/>
              <a:gd name="connsiteX0" fmla="*/ 0 w 4046758"/>
              <a:gd name="connsiteY0" fmla="*/ 0 h 6652523"/>
              <a:gd name="connsiteX1" fmla="*/ 4044045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1655 h 6654178"/>
              <a:gd name="connsiteX1" fmla="*/ 3082144 w 4046758"/>
              <a:gd name="connsiteY1" fmla="*/ 0 h 6654178"/>
              <a:gd name="connsiteX2" fmla="*/ 4046758 w 4046758"/>
              <a:gd name="connsiteY2" fmla="*/ 6654178 h 6654178"/>
              <a:gd name="connsiteX3" fmla="*/ 579722 w 4046758"/>
              <a:gd name="connsiteY3" fmla="*/ 6643956 h 6654178"/>
              <a:gd name="connsiteX4" fmla="*/ 0 w 4046758"/>
              <a:gd name="connsiteY4" fmla="*/ 6064234 h 6654178"/>
              <a:gd name="connsiteX5" fmla="*/ 0 w 4046758"/>
              <a:gd name="connsiteY5" fmla="*/ 1655 h 6654178"/>
              <a:gd name="connsiteX0" fmla="*/ 0 w 4046758"/>
              <a:gd name="connsiteY0" fmla="*/ 0 h 6652523"/>
              <a:gd name="connsiteX1" fmla="*/ 2975266 w 4046758"/>
              <a:gd name="connsiteY1" fmla="*/ 93348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70268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82144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3082197"/>
              <a:gd name="connsiteY0" fmla="*/ 0 h 6652523"/>
              <a:gd name="connsiteX1" fmla="*/ 3082144 w 3082197"/>
              <a:gd name="connsiteY1" fmla="*/ 10220 h 6652523"/>
              <a:gd name="connsiteX2" fmla="*/ 3072982 w 3082197"/>
              <a:gd name="connsiteY2" fmla="*/ 6652523 h 6652523"/>
              <a:gd name="connsiteX3" fmla="*/ 579722 w 3082197"/>
              <a:gd name="connsiteY3" fmla="*/ 6642301 h 6652523"/>
              <a:gd name="connsiteX4" fmla="*/ 0 w 3082197"/>
              <a:gd name="connsiteY4" fmla="*/ 6062579 h 6652523"/>
              <a:gd name="connsiteX5" fmla="*/ 0 w 3082197"/>
              <a:gd name="connsiteY5" fmla="*/ 0 h 6652523"/>
              <a:gd name="connsiteX0" fmla="*/ 0 w 3072982"/>
              <a:gd name="connsiteY0" fmla="*/ 0 h 6652523"/>
              <a:gd name="connsiteX1" fmla="*/ 3010892 w 3072982"/>
              <a:gd name="connsiteY1" fmla="*/ 164599 h 6652523"/>
              <a:gd name="connsiteX2" fmla="*/ 3072982 w 3072982"/>
              <a:gd name="connsiteY2" fmla="*/ 6652523 h 6652523"/>
              <a:gd name="connsiteX3" fmla="*/ 579722 w 3072982"/>
              <a:gd name="connsiteY3" fmla="*/ 6642301 h 6652523"/>
              <a:gd name="connsiteX4" fmla="*/ 0 w 3072982"/>
              <a:gd name="connsiteY4" fmla="*/ 6062579 h 6652523"/>
              <a:gd name="connsiteX5" fmla="*/ 0 w 3072982"/>
              <a:gd name="connsiteY5" fmla="*/ 0 h 6652523"/>
              <a:gd name="connsiteX0" fmla="*/ 0 w 3082197"/>
              <a:gd name="connsiteY0" fmla="*/ 1656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656 h 6654179"/>
              <a:gd name="connsiteX0" fmla="*/ 0 w 3082197"/>
              <a:gd name="connsiteY0" fmla="*/ 1316107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316107 h 6654179"/>
              <a:gd name="connsiteX0" fmla="*/ 0 w 3082197"/>
              <a:gd name="connsiteY0" fmla="*/ 1657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1657 h 5339729"/>
              <a:gd name="connsiteX0" fmla="*/ 0 w 3082197"/>
              <a:gd name="connsiteY0" fmla="*/ 2202416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2202416 h 5339729"/>
              <a:gd name="connsiteX0" fmla="*/ 0 w 3082197"/>
              <a:gd name="connsiteY0" fmla="*/ 1656 h 3138969"/>
              <a:gd name="connsiteX1" fmla="*/ 3082144 w 3082197"/>
              <a:gd name="connsiteY1" fmla="*/ 0 h 3138969"/>
              <a:gd name="connsiteX2" fmla="*/ 3072982 w 3082197"/>
              <a:gd name="connsiteY2" fmla="*/ 3138969 h 3138969"/>
              <a:gd name="connsiteX3" fmla="*/ 579722 w 3082197"/>
              <a:gd name="connsiteY3" fmla="*/ 3128747 h 3138969"/>
              <a:gd name="connsiteX4" fmla="*/ 0 w 3082197"/>
              <a:gd name="connsiteY4" fmla="*/ 2549025 h 3138969"/>
              <a:gd name="connsiteX5" fmla="*/ 0 w 3082197"/>
              <a:gd name="connsiteY5" fmla="*/ 1656 h 3138969"/>
              <a:gd name="connsiteX0" fmla="*/ 0 w 3082145"/>
              <a:gd name="connsiteY0" fmla="*/ 1656 h 3150544"/>
              <a:gd name="connsiteX1" fmla="*/ 3082144 w 3082145"/>
              <a:gd name="connsiteY1" fmla="*/ 0 h 3150544"/>
              <a:gd name="connsiteX2" fmla="*/ 2772041 w 3082145"/>
              <a:gd name="connsiteY2" fmla="*/ 3150544 h 3150544"/>
              <a:gd name="connsiteX3" fmla="*/ 579722 w 3082145"/>
              <a:gd name="connsiteY3" fmla="*/ 3128747 h 3150544"/>
              <a:gd name="connsiteX4" fmla="*/ 0 w 3082145"/>
              <a:gd name="connsiteY4" fmla="*/ 2549025 h 3150544"/>
              <a:gd name="connsiteX5" fmla="*/ 0 w 3082145"/>
              <a:gd name="connsiteY5" fmla="*/ 1656 h 3150544"/>
              <a:gd name="connsiteX0" fmla="*/ 0 w 2772041"/>
              <a:gd name="connsiteY0" fmla="*/ 1656 h 3150544"/>
              <a:gd name="connsiteX1" fmla="*/ 2769627 w 2772041"/>
              <a:gd name="connsiteY1" fmla="*/ 0 h 3150544"/>
              <a:gd name="connsiteX2" fmla="*/ 2772041 w 2772041"/>
              <a:gd name="connsiteY2" fmla="*/ 3150544 h 3150544"/>
              <a:gd name="connsiteX3" fmla="*/ 579722 w 2772041"/>
              <a:gd name="connsiteY3" fmla="*/ 3128747 h 3150544"/>
              <a:gd name="connsiteX4" fmla="*/ 0 w 2772041"/>
              <a:gd name="connsiteY4" fmla="*/ 2549025 h 3150544"/>
              <a:gd name="connsiteX5" fmla="*/ 0 w 2772041"/>
              <a:gd name="connsiteY5" fmla="*/ 1656 h 3150544"/>
              <a:gd name="connsiteX0" fmla="*/ 0 w 2772041"/>
              <a:gd name="connsiteY0" fmla="*/ 1656 h 3138969"/>
              <a:gd name="connsiteX1" fmla="*/ 2769627 w 2772041"/>
              <a:gd name="connsiteY1" fmla="*/ 0 h 3138969"/>
              <a:gd name="connsiteX2" fmla="*/ 2772041 w 2772041"/>
              <a:gd name="connsiteY2" fmla="*/ 3138969 h 3138969"/>
              <a:gd name="connsiteX3" fmla="*/ 579722 w 2772041"/>
              <a:gd name="connsiteY3" fmla="*/ 3128747 h 3138969"/>
              <a:gd name="connsiteX4" fmla="*/ 0 w 2772041"/>
              <a:gd name="connsiteY4" fmla="*/ 2549025 h 3138969"/>
              <a:gd name="connsiteX5" fmla="*/ 0 w 2772041"/>
              <a:gd name="connsiteY5" fmla="*/ 1656 h 313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72041" h="3138969">
                <a:moveTo>
                  <a:pt x="0" y="1656"/>
                </a:moveTo>
                <a:lnTo>
                  <a:pt x="2769627" y="0"/>
                </a:lnTo>
                <a:cubicBezTo>
                  <a:pt x="2770532" y="2146807"/>
                  <a:pt x="2771136" y="992162"/>
                  <a:pt x="2772041" y="3138969"/>
                </a:cubicBezTo>
                <a:lnTo>
                  <a:pt x="579722" y="3128747"/>
                </a:lnTo>
                <a:cubicBezTo>
                  <a:pt x="259550" y="3128747"/>
                  <a:pt x="0" y="2869197"/>
                  <a:pt x="0" y="2549025"/>
                </a:cubicBezTo>
                <a:lnTo>
                  <a:pt x="0" y="1656"/>
                </a:ln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US"/>
              <a:t>Insert Picture/Text Block</a:t>
            </a:r>
          </a:p>
          <a:p>
            <a:endParaRPr lang="en-US"/>
          </a:p>
          <a:p>
            <a:endParaRPr lang="en-JP"/>
          </a:p>
        </p:txBody>
      </p:sp>
      <p:sp>
        <p:nvSpPr>
          <p:cNvPr id="18" name="タイトル プレースホルダ 1">
            <a:extLst>
              <a:ext uri="{FF2B5EF4-FFF2-40B4-BE49-F238E27FC236}">
                <a16:creationId xmlns:a16="http://schemas.microsoft.com/office/drawing/2014/main" id="{4FBB8310-69E6-7C4E-A4B1-C022B6FEE2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7455190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17" name="Footer Placeholder 8">
            <a:extLst>
              <a:ext uri="{FF2B5EF4-FFF2-40B4-BE49-F238E27FC236}">
                <a16:creationId xmlns:a16="http://schemas.microsoft.com/office/drawing/2014/main" id="{4EF39473-C435-3C4E-9C7B-048D52C3CC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24538" y="6523002"/>
            <a:ext cx="30861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600" b="1" spc="75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 </a:t>
            </a:r>
            <a:endParaRPr lang="en-JP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EF9AE6-D84E-9F43-9506-6676EC51B210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8" name="スライド番号プレースホルダ 5">
            <a:extLst>
              <a:ext uri="{FF2B5EF4-FFF2-40B4-BE49-F238E27FC236}">
                <a16:creationId xmlns:a16="http://schemas.microsoft.com/office/drawing/2014/main" id="{F964ADE6-9B0D-EC45-959C-FEEA5CDDFB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914108"/>
            <a:fld id="{E9B57936-92EF-4126-AE48-1D9D36D15E98}" type="slidenum">
              <a:rPr lang="ja-JP" altLang="en-US" smtClean="0"/>
              <a:pPr defTabSz="914108"/>
              <a:t>‹#›</a:t>
            </a:fld>
            <a:endParaRPr lang="ja-JP" altLang="en-US"/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870D8562-3CE7-7044-9BB0-2068A81BF5C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99C450B-0755-7D4A-9672-E700D6F2E50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4558" y="1491374"/>
            <a:ext cx="8260817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/>
            </a:lvl1pPr>
            <a:lvl2pPr marL="342801" indent="0">
              <a:buNone/>
              <a:defRPr sz="1350" b="1"/>
            </a:lvl2pPr>
            <a:lvl3pPr marL="685612" indent="0">
              <a:buNone/>
              <a:defRPr sz="1350" b="1"/>
            </a:lvl3pPr>
            <a:lvl4pPr marL="1028414" indent="0">
              <a:buNone/>
              <a:defRPr sz="1350" b="1"/>
            </a:lvl4pPr>
            <a:lvl5pPr marL="1371218" indent="0">
              <a:buNone/>
              <a:defRPr sz="135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705B1BEB-AC9F-9643-A446-ABE1DDB9614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4558" y="1093767"/>
            <a:ext cx="8283158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50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Primary Title</a:t>
            </a:r>
          </a:p>
        </p:txBody>
      </p:sp>
      <p:pic>
        <p:nvPicPr>
          <p:cNvPr id="15" name="Picture 14" descr="Takeda">
            <a:extLst>
              <a:ext uri="{FF2B5EF4-FFF2-40B4-BE49-F238E27FC236}">
                <a16:creationId xmlns:a16="http://schemas.microsoft.com/office/drawing/2014/main" id="{1E6B9304-4033-4A7D-97BB-EEC5A9E33E0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3373" y="-1615"/>
            <a:ext cx="1272174" cy="94078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782C86F4-1601-4B8D-3312-B37946B572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7898319" y="6110930"/>
            <a:ext cx="825739" cy="37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266524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dvanced Chart Full Wid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A6D4E593-FDCC-D14E-9C5E-5F309E415C26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440532" y="3076287"/>
            <a:ext cx="8274844" cy="33403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/>
            </a:lvl1pPr>
          </a:lstStyle>
          <a:p>
            <a:r>
              <a:rPr lang="en-JP"/>
              <a:t>Insert Chart</a:t>
            </a:r>
          </a:p>
        </p:txBody>
      </p:sp>
      <p:sp>
        <p:nvSpPr>
          <p:cNvPr id="12" name="タイトル プレースホルダ 1">
            <a:extLst>
              <a:ext uri="{FF2B5EF4-FFF2-40B4-BE49-F238E27FC236}">
                <a16:creationId xmlns:a16="http://schemas.microsoft.com/office/drawing/2014/main" id="{75E45CD2-2EBD-AE47-837E-9F752C565F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7455190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17" name="Footer Placeholder 8">
            <a:extLst>
              <a:ext uri="{FF2B5EF4-FFF2-40B4-BE49-F238E27FC236}">
                <a16:creationId xmlns:a16="http://schemas.microsoft.com/office/drawing/2014/main" id="{2DC26CE8-1DEF-EE42-861C-B0406E8DC2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24538" y="6523002"/>
            <a:ext cx="30861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600" b="1" spc="75" baseline="0">
                <a:solidFill>
                  <a:schemeClr val="tx1"/>
                </a:solidFill>
              </a:defRPr>
            </a:lvl1pPr>
          </a:lstStyle>
          <a:p>
            <a:r>
              <a:rPr lang="en-JP"/>
              <a:t> 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436966D-3DF0-4D41-9D26-4860D147F807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3" name="スライド番号プレースホルダ 5">
            <a:extLst>
              <a:ext uri="{FF2B5EF4-FFF2-40B4-BE49-F238E27FC236}">
                <a16:creationId xmlns:a16="http://schemas.microsoft.com/office/drawing/2014/main" id="{600920FB-2D44-F645-865D-89FFECB095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914108"/>
            <a:fld id="{E9B57936-92EF-4126-AE48-1D9D36D15E98}" type="slidenum">
              <a:rPr lang="ja-JP" altLang="en-US" smtClean="0"/>
              <a:pPr defTabSz="914108"/>
              <a:t>‹#›</a:t>
            </a:fld>
            <a:endParaRPr lang="ja-JP" altLang="en-US"/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07DE8F7E-1418-1C4C-A62B-2385714992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628A960D-6A45-6744-9BDB-7070B443CC6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0531" y="1491374"/>
            <a:ext cx="8274845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/>
            </a:lvl1pPr>
            <a:lvl2pPr marL="342801" indent="0">
              <a:buNone/>
              <a:defRPr sz="1350" b="1"/>
            </a:lvl2pPr>
            <a:lvl3pPr marL="685612" indent="0">
              <a:buNone/>
              <a:defRPr sz="1350" b="1"/>
            </a:lvl3pPr>
            <a:lvl4pPr marL="1028414" indent="0">
              <a:buNone/>
              <a:defRPr sz="1350" b="1"/>
            </a:lvl4pPr>
            <a:lvl5pPr marL="1371218" indent="0">
              <a:buNone/>
              <a:defRPr sz="135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21493179-5EA4-604B-A9DF-BDA818F0166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40532" y="1093767"/>
            <a:ext cx="8274844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50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Primary Title</a:t>
            </a:r>
          </a:p>
        </p:txBody>
      </p:sp>
      <p:pic>
        <p:nvPicPr>
          <p:cNvPr id="13" name="Picture 12" descr="Takeda">
            <a:extLst>
              <a:ext uri="{FF2B5EF4-FFF2-40B4-BE49-F238E27FC236}">
                <a16:creationId xmlns:a16="http://schemas.microsoft.com/office/drawing/2014/main" id="{426EF198-89BF-4244-8B0A-2A1A1B7AA82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3373" y="-1615"/>
            <a:ext cx="1272174" cy="94078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FB296C1B-71E9-1C7A-08CF-B222F643250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7898319" y="6110930"/>
            <a:ext cx="825739" cy="37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099416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dvanced Char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A6D4E593-FDCC-D14E-9C5E-5F309E415C26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3170419" y="1093767"/>
            <a:ext cx="5544956" cy="532290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/>
            </a:lvl1pPr>
          </a:lstStyle>
          <a:p>
            <a:r>
              <a:rPr lang="en-JP"/>
              <a:t>Insert Chart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EF65D74B-37DA-0D46-8B56-9B362C84E6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4558" y="3178298"/>
            <a:ext cx="2592779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35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itl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BF5F6A26-5AAA-884F-A319-DE9881530AA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4557" y="3575905"/>
            <a:ext cx="2592780" cy="2840771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28588" indent="-128588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 sz="1050" b="0">
                <a:solidFill>
                  <a:schemeClr val="tx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ext.</a:t>
            </a:r>
          </a:p>
        </p:txBody>
      </p:sp>
      <p:sp>
        <p:nvSpPr>
          <p:cNvPr id="13" name="タイトル プレースホルダ 1">
            <a:extLst>
              <a:ext uri="{FF2B5EF4-FFF2-40B4-BE49-F238E27FC236}">
                <a16:creationId xmlns:a16="http://schemas.microsoft.com/office/drawing/2014/main" id="{2256F400-EDA8-7F44-BF13-278518497C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7455190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15" name="Footer Placeholder 8">
            <a:extLst>
              <a:ext uri="{FF2B5EF4-FFF2-40B4-BE49-F238E27FC236}">
                <a16:creationId xmlns:a16="http://schemas.microsoft.com/office/drawing/2014/main" id="{7136781B-A49B-0A42-B748-01C379A12F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24538" y="6523002"/>
            <a:ext cx="30861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600" b="1" spc="75" baseline="0">
                <a:solidFill>
                  <a:schemeClr val="tx1"/>
                </a:solidFill>
              </a:defRPr>
            </a:lvl1pPr>
          </a:lstStyle>
          <a:p>
            <a:r>
              <a:rPr lang="en-JP"/>
              <a:t>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AC2B0AC-7801-6C42-BA03-0669DC118159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4" name="スライド番号プレースホルダ 5">
            <a:extLst>
              <a:ext uri="{FF2B5EF4-FFF2-40B4-BE49-F238E27FC236}">
                <a16:creationId xmlns:a16="http://schemas.microsoft.com/office/drawing/2014/main" id="{71FCF96E-3BB8-0745-B029-6B6BE42912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914108"/>
            <a:fld id="{E9B57936-92EF-4126-AE48-1D9D36D15E98}" type="slidenum">
              <a:rPr lang="ja-JP" altLang="en-US" smtClean="0"/>
              <a:pPr defTabSz="914108"/>
              <a:t>‹#›</a:t>
            </a:fld>
            <a:endParaRPr lang="ja-JP" altLang="en-US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875659DC-941F-AA40-8336-C3B1BF32BA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5375A5A-6A84-7145-B49C-982F8461940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4558" y="1491374"/>
            <a:ext cx="2592779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/>
            </a:lvl1pPr>
            <a:lvl2pPr marL="342801" indent="0">
              <a:buNone/>
              <a:defRPr sz="1350" b="1"/>
            </a:lvl2pPr>
            <a:lvl3pPr marL="685612" indent="0">
              <a:buNone/>
              <a:defRPr sz="1350" b="1"/>
            </a:lvl3pPr>
            <a:lvl4pPr marL="1028414" indent="0">
              <a:buNone/>
              <a:defRPr sz="1350" b="1"/>
            </a:lvl4pPr>
            <a:lvl5pPr marL="1371218" indent="0">
              <a:buNone/>
              <a:defRPr sz="135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5F7E9041-544E-3547-AC30-65F55E91E1E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4559" y="1093767"/>
            <a:ext cx="2592778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50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Primary Title</a:t>
            </a:r>
          </a:p>
        </p:txBody>
      </p:sp>
      <p:pic>
        <p:nvPicPr>
          <p:cNvPr id="14" name="Picture 13" descr="Takeda">
            <a:extLst>
              <a:ext uri="{FF2B5EF4-FFF2-40B4-BE49-F238E27FC236}">
                <a16:creationId xmlns:a16="http://schemas.microsoft.com/office/drawing/2014/main" id="{5850109F-D08B-4670-8C92-9ADAD5CC855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3373" y="-1615"/>
            <a:ext cx="1272174" cy="94078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4FB45890-C68E-5389-8FD5-AF78D5373B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7898319" y="6110930"/>
            <a:ext cx="825739" cy="37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146568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dvanced Chart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A6D4E593-FDCC-D14E-9C5E-5F309E415C26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454558" y="3076287"/>
            <a:ext cx="4058846" cy="33403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/>
            </a:lvl1pPr>
          </a:lstStyle>
          <a:p>
            <a:r>
              <a:rPr lang="en-JP"/>
              <a:t>Insert Chart</a:t>
            </a:r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F1FC7466-185A-8B44-ABF0-5410C1127700}"/>
              </a:ext>
            </a:extLst>
          </p:cNvPr>
          <p:cNvSpPr>
            <a:spLocks noGrp="1"/>
          </p:cNvSpPr>
          <p:nvPr>
            <p:ph type="chart" sz="quarter" idx="22" hasCustomPrompt="1"/>
          </p:nvPr>
        </p:nvSpPr>
        <p:spPr>
          <a:xfrm>
            <a:off x="4654627" y="3076287"/>
            <a:ext cx="4060748" cy="33403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/>
            </a:lvl1pPr>
          </a:lstStyle>
          <a:p>
            <a:r>
              <a:rPr lang="en-JP"/>
              <a:t>Insert Chart</a:t>
            </a:r>
          </a:p>
        </p:txBody>
      </p:sp>
      <p:sp>
        <p:nvSpPr>
          <p:cNvPr id="12" name="タイトル プレースホルダ 1">
            <a:extLst>
              <a:ext uri="{FF2B5EF4-FFF2-40B4-BE49-F238E27FC236}">
                <a16:creationId xmlns:a16="http://schemas.microsoft.com/office/drawing/2014/main" id="{906CE02B-33D8-B048-A73D-781A3402C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7455190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14" name="Footer Placeholder 8">
            <a:extLst>
              <a:ext uri="{FF2B5EF4-FFF2-40B4-BE49-F238E27FC236}">
                <a16:creationId xmlns:a16="http://schemas.microsoft.com/office/drawing/2014/main" id="{C2587943-8F51-3542-B7BE-5781719445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24538" y="6523002"/>
            <a:ext cx="30861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600" b="1" spc="75" baseline="0">
                <a:solidFill>
                  <a:schemeClr val="tx1"/>
                </a:solidFill>
              </a:defRPr>
            </a:lvl1pPr>
          </a:lstStyle>
          <a:p>
            <a:r>
              <a:rPr lang="en-JP"/>
              <a:t>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679FB0B-7616-F04F-9B4C-586869A82E96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2" name="スライド番号プレースホルダ 5">
            <a:extLst>
              <a:ext uri="{FF2B5EF4-FFF2-40B4-BE49-F238E27FC236}">
                <a16:creationId xmlns:a16="http://schemas.microsoft.com/office/drawing/2014/main" id="{8AFBB1AB-19B7-1347-93F8-D14235DD23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914108"/>
            <a:fld id="{E9B57936-92EF-4126-AE48-1D9D36D15E98}" type="slidenum">
              <a:rPr lang="ja-JP" altLang="en-US" smtClean="0"/>
              <a:pPr defTabSz="914108"/>
              <a:t>‹#›</a:t>
            </a:fld>
            <a:endParaRPr lang="ja-JP" altLang="en-US"/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1C168495-CA79-E440-A93B-B87B3674835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6F06E4B-A978-4E46-AE6C-67B54F7E34D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4559" y="1491374"/>
            <a:ext cx="8260817" cy="1464957"/>
          </a:xfrm>
        </p:spPr>
        <p:txBody>
          <a:bodyPr tIns="0" rIns="0" bIns="0" numCol="2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/>
            </a:lvl1pPr>
            <a:lvl2pPr marL="342801" indent="0">
              <a:buNone/>
              <a:defRPr sz="1350" b="1"/>
            </a:lvl2pPr>
            <a:lvl3pPr marL="685612" indent="0">
              <a:buNone/>
              <a:defRPr sz="1350" b="1"/>
            </a:lvl3pPr>
            <a:lvl4pPr marL="1028414" indent="0">
              <a:buNone/>
              <a:defRPr sz="1350" b="1"/>
            </a:lvl4pPr>
            <a:lvl5pPr marL="1371218" indent="0">
              <a:buNone/>
              <a:defRPr sz="135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3FF373A1-4E48-6C48-A075-153436CF76D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0532" y="1093767"/>
            <a:ext cx="8260817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50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Primary Title</a:t>
            </a:r>
          </a:p>
        </p:txBody>
      </p:sp>
      <p:pic>
        <p:nvPicPr>
          <p:cNvPr id="13" name="Picture 12" descr="Takeda">
            <a:extLst>
              <a:ext uri="{FF2B5EF4-FFF2-40B4-BE49-F238E27FC236}">
                <a16:creationId xmlns:a16="http://schemas.microsoft.com/office/drawing/2014/main" id="{1E65B36D-84F3-47BC-9479-637EC72A9C0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3373" y="-1615"/>
            <a:ext cx="1272174" cy="94078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8E585CE3-34FB-F9E0-F243-450460667C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7898319" y="6110930"/>
            <a:ext cx="825739" cy="37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905772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dvanced Chart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A6D4E593-FDCC-D14E-9C5E-5F309E415C26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454559" y="3076287"/>
            <a:ext cx="2595717" cy="33403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/>
            </a:lvl1pPr>
          </a:lstStyle>
          <a:p>
            <a:r>
              <a:rPr lang="en-JP"/>
              <a:t>Insert Chart</a:t>
            </a:r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8D9BD23C-1777-C442-B4B0-BADF450483EA}"/>
              </a:ext>
            </a:extLst>
          </p:cNvPr>
          <p:cNvSpPr>
            <a:spLocks noGrp="1"/>
          </p:cNvSpPr>
          <p:nvPr>
            <p:ph type="chart" sz="quarter" idx="22" hasCustomPrompt="1"/>
          </p:nvPr>
        </p:nvSpPr>
        <p:spPr>
          <a:xfrm>
            <a:off x="3228688" y="3076287"/>
            <a:ext cx="2685182" cy="33403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/>
            </a:lvl1pPr>
          </a:lstStyle>
          <a:p>
            <a:r>
              <a:rPr lang="en-JP"/>
              <a:t>Insert Chart</a:t>
            </a:r>
          </a:p>
        </p:txBody>
      </p:sp>
      <p:sp>
        <p:nvSpPr>
          <p:cNvPr id="11" name="Chart Placeholder 7">
            <a:extLst>
              <a:ext uri="{FF2B5EF4-FFF2-40B4-BE49-F238E27FC236}">
                <a16:creationId xmlns:a16="http://schemas.microsoft.com/office/drawing/2014/main" id="{2D7D413C-2FF1-204A-83C6-B7426603B7C2}"/>
              </a:ext>
            </a:extLst>
          </p:cNvPr>
          <p:cNvSpPr>
            <a:spLocks noGrp="1"/>
          </p:cNvSpPr>
          <p:nvPr>
            <p:ph type="chart" sz="quarter" idx="23" hasCustomPrompt="1"/>
          </p:nvPr>
        </p:nvSpPr>
        <p:spPr>
          <a:xfrm>
            <a:off x="6092281" y="3076287"/>
            <a:ext cx="2623094" cy="33403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/>
            </a:lvl1pPr>
          </a:lstStyle>
          <a:p>
            <a:r>
              <a:rPr lang="en-JP"/>
              <a:t>Insert Chart</a:t>
            </a:r>
          </a:p>
        </p:txBody>
      </p:sp>
      <p:sp>
        <p:nvSpPr>
          <p:cNvPr id="17" name="タイトル プレースホルダ 1">
            <a:extLst>
              <a:ext uri="{FF2B5EF4-FFF2-40B4-BE49-F238E27FC236}">
                <a16:creationId xmlns:a16="http://schemas.microsoft.com/office/drawing/2014/main" id="{2FFB1535-D35E-D242-B225-DDF1C53BB8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7455190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19" name="Footer Placeholder 8">
            <a:extLst>
              <a:ext uri="{FF2B5EF4-FFF2-40B4-BE49-F238E27FC236}">
                <a16:creationId xmlns:a16="http://schemas.microsoft.com/office/drawing/2014/main" id="{47DB5E3C-7053-3645-A234-760F5ED123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24538" y="6523002"/>
            <a:ext cx="30861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600" b="1" spc="75" baseline="0">
                <a:solidFill>
                  <a:schemeClr val="tx1"/>
                </a:solidFill>
              </a:defRPr>
            </a:lvl1pPr>
          </a:lstStyle>
          <a:p>
            <a:r>
              <a:rPr lang="en-JP"/>
              <a:t>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EFC8CB7-67E9-8A46-B53F-F34ACE18BE87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5" name="スライド番号プレースホルダ 5">
            <a:extLst>
              <a:ext uri="{FF2B5EF4-FFF2-40B4-BE49-F238E27FC236}">
                <a16:creationId xmlns:a16="http://schemas.microsoft.com/office/drawing/2014/main" id="{5EB1023E-4E73-AD49-83B0-D7B458250C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914108"/>
            <a:fld id="{E9B57936-92EF-4126-AE48-1D9D36D15E98}" type="slidenum">
              <a:rPr lang="ja-JP" altLang="en-US" smtClean="0"/>
              <a:pPr defTabSz="914108"/>
              <a:t>‹#›</a:t>
            </a:fld>
            <a:endParaRPr lang="ja-JP" altLang="en-US"/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4942DB0C-137A-4E4C-B926-77CEECC512A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D1171B1-AEC6-164D-8FE0-E0B9353A55B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4559" y="1491374"/>
            <a:ext cx="8456078" cy="1464957"/>
          </a:xfrm>
        </p:spPr>
        <p:txBody>
          <a:bodyPr tIns="0" rIns="0" bIns="0" numCol="2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/>
            </a:lvl1pPr>
            <a:lvl2pPr marL="342801" indent="0">
              <a:buNone/>
              <a:defRPr sz="1350" b="1"/>
            </a:lvl2pPr>
            <a:lvl3pPr marL="685612" indent="0">
              <a:buNone/>
              <a:defRPr sz="1350" b="1"/>
            </a:lvl3pPr>
            <a:lvl4pPr marL="1028414" indent="0">
              <a:buNone/>
              <a:defRPr sz="1350" b="1"/>
            </a:lvl4pPr>
            <a:lvl5pPr marL="1371218" indent="0">
              <a:buNone/>
              <a:defRPr sz="135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6C4AA1F-8B09-5544-9C70-388A6E2940C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4558" y="1093767"/>
            <a:ext cx="8456078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50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Primary Title</a:t>
            </a:r>
          </a:p>
        </p:txBody>
      </p:sp>
      <p:pic>
        <p:nvPicPr>
          <p:cNvPr id="14" name="Picture 13" descr="Takeda">
            <a:extLst>
              <a:ext uri="{FF2B5EF4-FFF2-40B4-BE49-F238E27FC236}">
                <a16:creationId xmlns:a16="http://schemas.microsoft.com/office/drawing/2014/main" id="{2DA7E714-D2DD-4063-AA2B-94194C83A95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3373" y="-1615"/>
            <a:ext cx="1272174" cy="94078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677D4E86-5A2D-80C0-47FA-E7A27F8045B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7898319" y="6110930"/>
            <a:ext cx="825739" cy="37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60959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dvanced 2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C4486BE7-E24B-D445-B95D-8D976B5C59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32697" y="3575905"/>
            <a:ext cx="4082678" cy="2840771"/>
          </a:xfrm>
        </p:spPr>
        <p:txBody>
          <a:bodyPr tIns="0" rIns="0" bIns="0" numCol="1">
            <a:noAutofit/>
          </a:bodyPr>
          <a:lstStyle>
            <a:lvl1pPr marL="214313" indent="-214313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 sz="1050" b="0">
                <a:solidFill>
                  <a:schemeClr val="tx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ex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9F0DD41-BD6B-7941-8305-67EF42EC2B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0530" y="1491374"/>
            <a:ext cx="8274845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/>
            </a:lvl1pPr>
            <a:lvl2pPr marL="342801" indent="0">
              <a:buNone/>
              <a:defRPr sz="1350" b="1"/>
            </a:lvl2pPr>
            <a:lvl3pPr marL="685612" indent="0">
              <a:buNone/>
              <a:defRPr sz="1350" b="1"/>
            </a:lvl3pPr>
            <a:lvl4pPr marL="1028414" indent="0">
              <a:buNone/>
              <a:defRPr sz="1350" b="1"/>
            </a:lvl4pPr>
            <a:lvl5pPr marL="1371218" indent="0">
              <a:buNone/>
              <a:defRPr sz="135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925D82-457F-D84D-B8DF-D8ADFD7E71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0530" y="3178298"/>
            <a:ext cx="4074320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35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4558" y="3575905"/>
            <a:ext cx="4060292" cy="2840771"/>
          </a:xfrm>
        </p:spPr>
        <p:txBody>
          <a:bodyPr tIns="0" rIns="0" bIns="0" numCol="1">
            <a:noAutofit/>
          </a:bodyPr>
          <a:lstStyle>
            <a:lvl1pPr marL="128588" indent="-128588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 sz="1050" b="0">
                <a:solidFill>
                  <a:schemeClr val="tx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ext. 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F66F056-E301-3942-8399-963B744AD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0531" y="1093767"/>
            <a:ext cx="8274845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50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Primary Title</a:t>
            </a:r>
          </a:p>
        </p:txBody>
      </p:sp>
      <p:sp>
        <p:nvSpPr>
          <p:cNvPr id="19" name="Footer Placeholder 8">
            <a:extLst>
              <a:ext uri="{FF2B5EF4-FFF2-40B4-BE49-F238E27FC236}">
                <a16:creationId xmlns:a16="http://schemas.microsoft.com/office/drawing/2014/main" id="{CDA06C55-0643-C148-AAB1-C4BB26FD7B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24538" y="6524626"/>
            <a:ext cx="3086100" cy="1945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="1" spc="75" baseline="0">
                <a:solidFill>
                  <a:schemeClr val="tx1"/>
                </a:solidFill>
              </a:defRPr>
            </a:lvl1pPr>
          </a:lstStyle>
          <a:p>
            <a:r>
              <a:rPr lang="en-JP"/>
              <a:t> </a:t>
            </a:r>
          </a:p>
        </p:txBody>
      </p:sp>
      <p:sp>
        <p:nvSpPr>
          <p:cNvPr id="22" name="タイトル プレースホルダ 1">
            <a:extLst>
              <a:ext uri="{FF2B5EF4-FFF2-40B4-BE49-F238E27FC236}">
                <a16:creationId xmlns:a16="http://schemas.microsoft.com/office/drawing/2014/main" id="{86D2E5B8-9E2B-DB46-A55A-5F26569C4F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7455190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 lang="ja-JP" altLang="en-US"/>
            </a:lvl1pPr>
          </a:lstStyle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015E3CB-F694-EC42-B70E-C728F3F2F933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JP" sz="1350"/>
          </a:p>
        </p:txBody>
      </p:sp>
      <p:sp>
        <p:nvSpPr>
          <p:cNvPr id="23" name="スライド番号プレースホルダ 5">
            <a:extLst>
              <a:ext uri="{FF2B5EF4-FFF2-40B4-BE49-F238E27FC236}">
                <a16:creationId xmlns:a16="http://schemas.microsoft.com/office/drawing/2014/main" id="{3247B7AF-EE58-F847-A606-0F66235043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914108"/>
            <a:fld id="{E9B57936-92EF-4126-AE48-1D9D36D15E98}" type="slidenum">
              <a:rPr lang="ja-JP" altLang="en-US" smtClean="0"/>
              <a:pPr defTabSz="914108"/>
              <a:t>‹#›</a:t>
            </a:fld>
            <a:endParaRPr lang="ja-JP" altLang="en-US"/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31D9C203-575D-DE43-B0D0-0D00DFD4672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4559" y="6524626"/>
            <a:ext cx="5226261" cy="203989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pic>
        <p:nvPicPr>
          <p:cNvPr id="15" name="Picture 14" descr="Takeda">
            <a:extLst>
              <a:ext uri="{FF2B5EF4-FFF2-40B4-BE49-F238E27FC236}">
                <a16:creationId xmlns:a16="http://schemas.microsoft.com/office/drawing/2014/main" id="{92B5306A-BC80-4EF2-A0FB-FD39F6C7877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3373" y="-1615"/>
            <a:ext cx="1272174" cy="940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662337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dvanced _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ooter Placeholder 8">
            <a:extLst>
              <a:ext uri="{FF2B5EF4-FFF2-40B4-BE49-F238E27FC236}">
                <a16:creationId xmlns:a16="http://schemas.microsoft.com/office/drawing/2014/main" id="{8D5F5577-3F64-2049-A839-8C5C39554B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24538" y="6523002"/>
            <a:ext cx="30861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600" b="1" spc="75" baseline="0">
                <a:solidFill>
                  <a:schemeClr val="tx1"/>
                </a:solidFill>
              </a:defRPr>
            </a:lvl1pPr>
          </a:lstStyle>
          <a:p>
            <a:r>
              <a:rPr lang="en-JP"/>
              <a:t> 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2AD9E95A-6959-B64E-ADF8-64DD679B934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629152" y="1093767"/>
            <a:ext cx="4528227" cy="5341758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33463"/>
              <a:gd name="connsiteX1" fmla="*/ 8912928 w 8915642"/>
              <a:gd name="connsiteY1" fmla="*/ 191388 h 6633463"/>
              <a:gd name="connsiteX2" fmla="*/ 8915642 w 8915642"/>
              <a:gd name="connsiteY2" fmla="*/ 6631809 h 6633463"/>
              <a:gd name="connsiteX3" fmla="*/ 579722 w 8915642"/>
              <a:gd name="connsiteY3" fmla="*/ 6633463 h 6633463"/>
              <a:gd name="connsiteX4" fmla="*/ 0 w 8915642"/>
              <a:gd name="connsiteY4" fmla="*/ 6053741 h 6633463"/>
              <a:gd name="connsiteX5" fmla="*/ 0 w 8915642"/>
              <a:gd name="connsiteY5" fmla="*/ 1 h 6633463"/>
              <a:gd name="connsiteX0" fmla="*/ 0 w 8933278"/>
              <a:gd name="connsiteY0" fmla="*/ 1653 h 6635115"/>
              <a:gd name="connsiteX1" fmla="*/ 8933248 w 8933278"/>
              <a:gd name="connsiteY1" fmla="*/ 0 h 6635115"/>
              <a:gd name="connsiteX2" fmla="*/ 8915642 w 8933278"/>
              <a:gd name="connsiteY2" fmla="*/ 6633461 h 6635115"/>
              <a:gd name="connsiteX3" fmla="*/ 579722 w 8933278"/>
              <a:gd name="connsiteY3" fmla="*/ 6635115 h 6635115"/>
              <a:gd name="connsiteX4" fmla="*/ 0 w 8933278"/>
              <a:gd name="connsiteY4" fmla="*/ 6055393 h 6635115"/>
              <a:gd name="connsiteX5" fmla="*/ 0 w 8933278"/>
              <a:gd name="connsiteY5" fmla="*/ 1653 h 6635115"/>
              <a:gd name="connsiteX0" fmla="*/ 0 w 8933323"/>
              <a:gd name="connsiteY0" fmla="*/ 1653 h 6645336"/>
              <a:gd name="connsiteX1" fmla="*/ 8933248 w 8933323"/>
              <a:gd name="connsiteY1" fmla="*/ 0 h 6645336"/>
              <a:gd name="connsiteX2" fmla="*/ 8927517 w 8933323"/>
              <a:gd name="connsiteY2" fmla="*/ 6645336 h 6645336"/>
              <a:gd name="connsiteX3" fmla="*/ 579722 w 8933323"/>
              <a:gd name="connsiteY3" fmla="*/ 6635115 h 6645336"/>
              <a:gd name="connsiteX4" fmla="*/ 0 w 8933323"/>
              <a:gd name="connsiteY4" fmla="*/ 6055393 h 6645336"/>
              <a:gd name="connsiteX5" fmla="*/ 0 w 8933323"/>
              <a:gd name="connsiteY5" fmla="*/ 1653 h 6645336"/>
              <a:gd name="connsiteX0" fmla="*/ 0 w 8927517"/>
              <a:gd name="connsiteY0" fmla="*/ 1653 h 6645336"/>
              <a:gd name="connsiteX1" fmla="*/ 7971347 w 8927517"/>
              <a:gd name="connsiteY1" fmla="*/ 0 h 6645336"/>
              <a:gd name="connsiteX2" fmla="*/ 8927517 w 8927517"/>
              <a:gd name="connsiteY2" fmla="*/ 6645336 h 6645336"/>
              <a:gd name="connsiteX3" fmla="*/ 579722 w 8927517"/>
              <a:gd name="connsiteY3" fmla="*/ 6635115 h 6645336"/>
              <a:gd name="connsiteX4" fmla="*/ 0 w 8927517"/>
              <a:gd name="connsiteY4" fmla="*/ 6055393 h 6645336"/>
              <a:gd name="connsiteX5" fmla="*/ 0 w 8927517"/>
              <a:gd name="connsiteY5" fmla="*/ 1653 h 6645336"/>
              <a:gd name="connsiteX0" fmla="*/ 0 w 7971422"/>
              <a:gd name="connsiteY0" fmla="*/ 1653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653 h 6645336"/>
              <a:gd name="connsiteX0" fmla="*/ 0 w 7971422"/>
              <a:gd name="connsiteY0" fmla="*/ 1301816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301816 h 6645336"/>
              <a:gd name="connsiteX0" fmla="*/ 0 w 7965616"/>
              <a:gd name="connsiteY0" fmla="*/ 1653 h 5345173"/>
              <a:gd name="connsiteX1" fmla="*/ 7957060 w 7965616"/>
              <a:gd name="connsiteY1" fmla="*/ 0 h 5345173"/>
              <a:gd name="connsiteX2" fmla="*/ 7965616 w 7965616"/>
              <a:gd name="connsiteY2" fmla="*/ 5345173 h 5345173"/>
              <a:gd name="connsiteX3" fmla="*/ 579722 w 7965616"/>
              <a:gd name="connsiteY3" fmla="*/ 5334952 h 5345173"/>
              <a:gd name="connsiteX4" fmla="*/ 0 w 7965616"/>
              <a:gd name="connsiteY4" fmla="*/ 4755230 h 5345173"/>
              <a:gd name="connsiteX5" fmla="*/ 0 w 7965616"/>
              <a:gd name="connsiteY5" fmla="*/ 1653 h 5345173"/>
              <a:gd name="connsiteX0" fmla="*/ 0 w 7971422"/>
              <a:gd name="connsiteY0" fmla="*/ 1653 h 5345173"/>
              <a:gd name="connsiteX1" fmla="*/ 7971347 w 7971422"/>
              <a:gd name="connsiteY1" fmla="*/ 0 h 5345173"/>
              <a:gd name="connsiteX2" fmla="*/ 7965616 w 7971422"/>
              <a:gd name="connsiteY2" fmla="*/ 5345173 h 5345173"/>
              <a:gd name="connsiteX3" fmla="*/ 579722 w 7971422"/>
              <a:gd name="connsiteY3" fmla="*/ 5334952 h 5345173"/>
              <a:gd name="connsiteX4" fmla="*/ 0 w 7971422"/>
              <a:gd name="connsiteY4" fmla="*/ 4755230 h 5345173"/>
              <a:gd name="connsiteX5" fmla="*/ 0 w 7971422"/>
              <a:gd name="connsiteY5" fmla="*/ 1653 h 5345173"/>
              <a:gd name="connsiteX0" fmla="*/ 0 w 7988356"/>
              <a:gd name="connsiteY0" fmla="*/ 187920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187920 h 5345173"/>
              <a:gd name="connsiteX0" fmla="*/ 0 w 7988356"/>
              <a:gd name="connsiteY0" fmla="*/ 210145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210145 h 5345173"/>
              <a:gd name="connsiteX0" fmla="*/ 0 w 7988356"/>
              <a:gd name="connsiteY0" fmla="*/ 0 h 5135028"/>
              <a:gd name="connsiteX1" fmla="*/ 7988281 w 7988356"/>
              <a:gd name="connsiteY1" fmla="*/ 7569 h 5135028"/>
              <a:gd name="connsiteX2" fmla="*/ 7982550 w 7988356"/>
              <a:gd name="connsiteY2" fmla="*/ 5135028 h 5135028"/>
              <a:gd name="connsiteX3" fmla="*/ 596656 w 7988356"/>
              <a:gd name="connsiteY3" fmla="*/ 5124807 h 5135028"/>
              <a:gd name="connsiteX4" fmla="*/ 16934 w 7988356"/>
              <a:gd name="connsiteY4" fmla="*/ 4545085 h 5135028"/>
              <a:gd name="connsiteX5" fmla="*/ 0 w 7988356"/>
              <a:gd name="connsiteY5" fmla="*/ 0 h 5135028"/>
              <a:gd name="connsiteX0" fmla="*/ 0 w 7982550"/>
              <a:gd name="connsiteY0" fmla="*/ 0 h 5135028"/>
              <a:gd name="connsiteX1" fmla="*/ 6028853 w 7982550"/>
              <a:gd name="connsiteY1" fmla="*/ 7569 h 5135028"/>
              <a:gd name="connsiteX2" fmla="*/ 7982550 w 7982550"/>
              <a:gd name="connsiteY2" fmla="*/ 5135028 h 5135028"/>
              <a:gd name="connsiteX3" fmla="*/ 596656 w 7982550"/>
              <a:gd name="connsiteY3" fmla="*/ 5124807 h 5135028"/>
              <a:gd name="connsiteX4" fmla="*/ 16934 w 7982550"/>
              <a:gd name="connsiteY4" fmla="*/ 4545085 h 5135028"/>
              <a:gd name="connsiteX5" fmla="*/ 0 w 7982550"/>
              <a:gd name="connsiteY5" fmla="*/ 0 h 5135028"/>
              <a:gd name="connsiteX0" fmla="*/ 0 w 6037636"/>
              <a:gd name="connsiteY0" fmla="*/ 0 h 5135028"/>
              <a:gd name="connsiteX1" fmla="*/ 6028853 w 6037636"/>
              <a:gd name="connsiteY1" fmla="*/ 7569 h 5135028"/>
              <a:gd name="connsiteX2" fmla="*/ 6037636 w 6037636"/>
              <a:gd name="connsiteY2" fmla="*/ 5135028 h 5135028"/>
              <a:gd name="connsiteX3" fmla="*/ 596656 w 6037636"/>
              <a:gd name="connsiteY3" fmla="*/ 5124807 h 5135028"/>
              <a:gd name="connsiteX4" fmla="*/ 16934 w 6037636"/>
              <a:gd name="connsiteY4" fmla="*/ 4545085 h 5135028"/>
              <a:gd name="connsiteX5" fmla="*/ 0 w 6037636"/>
              <a:gd name="connsiteY5" fmla="*/ 0 h 5135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37636" h="5135028">
                <a:moveTo>
                  <a:pt x="0" y="0"/>
                </a:moveTo>
                <a:lnTo>
                  <a:pt x="6028853" y="7569"/>
                </a:lnTo>
                <a:cubicBezTo>
                  <a:pt x="6029758" y="2154376"/>
                  <a:pt x="6036731" y="2988221"/>
                  <a:pt x="6037636" y="5135028"/>
                </a:cubicBezTo>
                <a:lnTo>
                  <a:pt x="596656" y="5124807"/>
                </a:lnTo>
                <a:cubicBezTo>
                  <a:pt x="276484" y="5124807"/>
                  <a:pt x="16934" y="4865257"/>
                  <a:pt x="16934" y="4545085"/>
                </a:cubicBezTo>
                <a:cubicBezTo>
                  <a:pt x="11289" y="3022648"/>
                  <a:pt x="5645" y="1522437"/>
                  <a:pt x="0" y="0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JP"/>
              <a:t>Insert Photo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D1F67940-C534-7E4A-ACD3-D94AF5FFD3C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0531" y="3178298"/>
            <a:ext cx="4074319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35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itle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7763AA1A-832E-D147-B41F-806ECDE44A6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530" y="3575904"/>
            <a:ext cx="4074320" cy="2859620"/>
          </a:xfrm>
        </p:spPr>
        <p:txBody>
          <a:bodyPr tIns="0" rIns="0" bIns="0" numCol="1">
            <a:noAutofit/>
          </a:bodyPr>
          <a:lstStyle>
            <a:lvl1pPr marL="128588" indent="-128588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 sz="1050" b="0">
                <a:solidFill>
                  <a:schemeClr val="tx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ext. </a:t>
            </a:r>
          </a:p>
        </p:txBody>
      </p:sp>
      <p:sp>
        <p:nvSpPr>
          <p:cNvPr id="24" name="タイトル プレースホルダ 1">
            <a:extLst>
              <a:ext uri="{FF2B5EF4-FFF2-40B4-BE49-F238E27FC236}">
                <a16:creationId xmlns:a16="http://schemas.microsoft.com/office/drawing/2014/main" id="{5150A056-0B7A-DD4A-A38C-26A39DB94D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7455190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23BB5B0-EC38-C74E-9B7F-D8140E54C071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7" name="スライド番号プレースホルダ 5">
            <a:extLst>
              <a:ext uri="{FF2B5EF4-FFF2-40B4-BE49-F238E27FC236}">
                <a16:creationId xmlns:a16="http://schemas.microsoft.com/office/drawing/2014/main" id="{42B46CEA-C682-B846-A029-CD9FE12FF7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914108"/>
            <a:fld id="{E9B57936-92EF-4126-AE48-1D9D36D15E98}" type="slidenum">
              <a:rPr lang="ja-JP" altLang="en-US" smtClean="0"/>
              <a:pPr defTabSz="914108"/>
              <a:t>‹#›</a:t>
            </a:fld>
            <a:endParaRPr lang="ja-JP" altLang="en-US"/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FA0BC325-8F09-754C-A71C-82A8AF93AF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26121FE7-559E-0846-8166-1968C2ECA72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0530" y="1491374"/>
            <a:ext cx="4071497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/>
            </a:lvl1pPr>
            <a:lvl2pPr marL="342801" indent="0">
              <a:buNone/>
              <a:defRPr sz="1350" b="1"/>
            </a:lvl2pPr>
            <a:lvl3pPr marL="685612" indent="0">
              <a:buNone/>
              <a:defRPr sz="1350" b="1"/>
            </a:lvl3pPr>
            <a:lvl4pPr marL="1028414" indent="0">
              <a:buNone/>
              <a:defRPr sz="1350" b="1"/>
            </a:lvl4pPr>
            <a:lvl5pPr marL="1371218" indent="0">
              <a:buNone/>
              <a:defRPr sz="135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981616AD-5FCE-F341-B307-479047B75A2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0531" y="1093767"/>
            <a:ext cx="4071496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50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Primary Title</a:t>
            </a:r>
          </a:p>
        </p:txBody>
      </p:sp>
      <p:pic>
        <p:nvPicPr>
          <p:cNvPr id="13" name="Picture 12" descr="Takeda">
            <a:extLst>
              <a:ext uri="{FF2B5EF4-FFF2-40B4-BE49-F238E27FC236}">
                <a16:creationId xmlns:a16="http://schemas.microsoft.com/office/drawing/2014/main" id="{964C8602-CDC3-4AA2-8413-A687C7E539A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3373" y="-1615"/>
            <a:ext cx="1272174" cy="94078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25723F27-A15A-9D55-4A54-7E696BAD571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7898319" y="6110930"/>
            <a:ext cx="825739" cy="37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650628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Page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2859E379-0E30-46AB-B543-D4DA5A1449D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61503" y="6367253"/>
            <a:ext cx="1522811" cy="117462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E1554A7-64AF-497E-91CF-AC1DFC494E59}"/>
              </a:ext>
            </a:extLst>
          </p:cNvPr>
          <p:cNvSpPr/>
          <p:nvPr/>
        </p:nvSpPr>
        <p:spPr>
          <a:xfrm>
            <a:off x="1" y="-10971"/>
            <a:ext cx="5529020" cy="5518536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rtlCol="0" anchor="ctr"/>
          <a:lstStyle/>
          <a:p>
            <a:pPr algn="ctr"/>
            <a:endParaRPr kumimoji="1" lang="en-US" sz="1350"/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902F3095-EA6E-F94A-AF04-18ED691DEB7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529805" y="-10972"/>
            <a:ext cx="3614980" cy="6899286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01712790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D&amp;T Title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902F3095-EA6E-F94A-AF04-18ED691DEB7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 flipH="1">
            <a:off x="0" y="11729"/>
            <a:ext cx="4860875" cy="6834541"/>
          </a:xfrm>
          <a:custGeom>
            <a:avLst/>
            <a:gdLst>
              <a:gd name="connsiteX0" fmla="*/ 0 w 6462532"/>
              <a:gd name="connsiteY0" fmla="*/ 3052818 h 6105636"/>
              <a:gd name="connsiteX1" fmla="*/ 3052818 w 6462532"/>
              <a:gd name="connsiteY1" fmla="*/ 0 h 6105636"/>
              <a:gd name="connsiteX2" fmla="*/ 3409714 w 6462532"/>
              <a:gd name="connsiteY2" fmla="*/ 0 h 6105636"/>
              <a:gd name="connsiteX3" fmla="*/ 6462532 w 6462532"/>
              <a:gd name="connsiteY3" fmla="*/ 3052818 h 6105636"/>
              <a:gd name="connsiteX4" fmla="*/ 6462532 w 6462532"/>
              <a:gd name="connsiteY4" fmla="*/ 3052818 h 6105636"/>
              <a:gd name="connsiteX5" fmla="*/ 3409714 w 6462532"/>
              <a:gd name="connsiteY5" fmla="*/ 6105636 h 6105636"/>
              <a:gd name="connsiteX6" fmla="*/ 3052818 w 6462532"/>
              <a:gd name="connsiteY6" fmla="*/ 6105636 h 6105636"/>
              <a:gd name="connsiteX7" fmla="*/ 0 w 6462532"/>
              <a:gd name="connsiteY7" fmla="*/ 3052818 h 6105636"/>
              <a:gd name="connsiteX0" fmla="*/ 0 w 7309764"/>
              <a:gd name="connsiteY0" fmla="*/ 3052818 h 6105636"/>
              <a:gd name="connsiteX1" fmla="*/ 3052818 w 7309764"/>
              <a:gd name="connsiteY1" fmla="*/ 0 h 6105636"/>
              <a:gd name="connsiteX2" fmla="*/ 6592752 w 7309764"/>
              <a:gd name="connsiteY2" fmla="*/ 46298 h 6105636"/>
              <a:gd name="connsiteX3" fmla="*/ 6462532 w 7309764"/>
              <a:gd name="connsiteY3" fmla="*/ 3052818 h 6105636"/>
              <a:gd name="connsiteX4" fmla="*/ 6462532 w 7309764"/>
              <a:gd name="connsiteY4" fmla="*/ 3052818 h 6105636"/>
              <a:gd name="connsiteX5" fmla="*/ 3409714 w 7309764"/>
              <a:gd name="connsiteY5" fmla="*/ 6105636 h 6105636"/>
              <a:gd name="connsiteX6" fmla="*/ 3052818 w 7309764"/>
              <a:gd name="connsiteY6" fmla="*/ 6105636 h 6105636"/>
              <a:gd name="connsiteX7" fmla="*/ 0 w 7309764"/>
              <a:gd name="connsiteY7" fmla="*/ 3052818 h 6105636"/>
              <a:gd name="connsiteX0" fmla="*/ 0 w 7309764"/>
              <a:gd name="connsiteY0" fmla="*/ 3060215 h 6113033"/>
              <a:gd name="connsiteX1" fmla="*/ 3052818 w 7309764"/>
              <a:gd name="connsiteY1" fmla="*/ 7397 h 6113033"/>
              <a:gd name="connsiteX2" fmla="*/ 6592752 w 7309764"/>
              <a:gd name="connsiteY2" fmla="*/ 53695 h 6113033"/>
              <a:gd name="connsiteX3" fmla="*/ 6462532 w 7309764"/>
              <a:gd name="connsiteY3" fmla="*/ 3060215 h 6113033"/>
              <a:gd name="connsiteX4" fmla="*/ 6462532 w 7309764"/>
              <a:gd name="connsiteY4" fmla="*/ 3060215 h 6113033"/>
              <a:gd name="connsiteX5" fmla="*/ 3409714 w 7309764"/>
              <a:gd name="connsiteY5" fmla="*/ 6113033 h 6113033"/>
              <a:gd name="connsiteX6" fmla="*/ 3052818 w 7309764"/>
              <a:gd name="connsiteY6" fmla="*/ 6113033 h 6113033"/>
              <a:gd name="connsiteX7" fmla="*/ 0 w 7309764"/>
              <a:gd name="connsiteY7" fmla="*/ 3060215 h 6113033"/>
              <a:gd name="connsiteX0" fmla="*/ 0 w 7309764"/>
              <a:gd name="connsiteY0" fmla="*/ 3052818 h 6105636"/>
              <a:gd name="connsiteX1" fmla="*/ 3052818 w 7309764"/>
              <a:gd name="connsiteY1" fmla="*/ 0 h 6105636"/>
              <a:gd name="connsiteX2" fmla="*/ 6592752 w 7309764"/>
              <a:gd name="connsiteY2" fmla="*/ 46298 h 6105636"/>
              <a:gd name="connsiteX3" fmla="*/ 6462532 w 7309764"/>
              <a:gd name="connsiteY3" fmla="*/ 3052818 h 6105636"/>
              <a:gd name="connsiteX4" fmla="*/ 6462532 w 7309764"/>
              <a:gd name="connsiteY4" fmla="*/ 3052818 h 6105636"/>
              <a:gd name="connsiteX5" fmla="*/ 3409714 w 7309764"/>
              <a:gd name="connsiteY5" fmla="*/ 6105636 h 6105636"/>
              <a:gd name="connsiteX6" fmla="*/ 3052818 w 7309764"/>
              <a:gd name="connsiteY6" fmla="*/ 6105636 h 6105636"/>
              <a:gd name="connsiteX7" fmla="*/ 0 w 7309764"/>
              <a:gd name="connsiteY7" fmla="*/ 3052818 h 6105636"/>
              <a:gd name="connsiteX0" fmla="*/ 0 w 7162978"/>
              <a:gd name="connsiteY0" fmla="*/ 3052818 h 6105636"/>
              <a:gd name="connsiteX1" fmla="*/ 3052818 w 7162978"/>
              <a:gd name="connsiteY1" fmla="*/ 0 h 6105636"/>
              <a:gd name="connsiteX2" fmla="*/ 6395982 w 7162978"/>
              <a:gd name="connsiteY2" fmla="*/ 11574 h 6105636"/>
              <a:gd name="connsiteX3" fmla="*/ 6462532 w 7162978"/>
              <a:gd name="connsiteY3" fmla="*/ 3052818 h 6105636"/>
              <a:gd name="connsiteX4" fmla="*/ 6462532 w 7162978"/>
              <a:gd name="connsiteY4" fmla="*/ 3052818 h 6105636"/>
              <a:gd name="connsiteX5" fmla="*/ 3409714 w 7162978"/>
              <a:gd name="connsiteY5" fmla="*/ 6105636 h 6105636"/>
              <a:gd name="connsiteX6" fmla="*/ 3052818 w 7162978"/>
              <a:gd name="connsiteY6" fmla="*/ 6105636 h 6105636"/>
              <a:gd name="connsiteX7" fmla="*/ 0 w 7162978"/>
              <a:gd name="connsiteY7" fmla="*/ 3052818 h 6105636"/>
              <a:gd name="connsiteX0" fmla="*/ 0 w 7162978"/>
              <a:gd name="connsiteY0" fmla="*/ 3052818 h 6105636"/>
              <a:gd name="connsiteX1" fmla="*/ 3052818 w 7162978"/>
              <a:gd name="connsiteY1" fmla="*/ 0 h 6105636"/>
              <a:gd name="connsiteX2" fmla="*/ 6395982 w 7162978"/>
              <a:gd name="connsiteY2" fmla="*/ 11574 h 6105636"/>
              <a:gd name="connsiteX3" fmla="*/ 6462532 w 7162978"/>
              <a:gd name="connsiteY3" fmla="*/ 3052818 h 6105636"/>
              <a:gd name="connsiteX4" fmla="*/ 6462532 w 7162978"/>
              <a:gd name="connsiteY4" fmla="*/ 3052818 h 6105636"/>
              <a:gd name="connsiteX5" fmla="*/ 3409714 w 7162978"/>
              <a:gd name="connsiteY5" fmla="*/ 6105636 h 6105636"/>
              <a:gd name="connsiteX6" fmla="*/ 3052818 w 7162978"/>
              <a:gd name="connsiteY6" fmla="*/ 6105636 h 6105636"/>
              <a:gd name="connsiteX7" fmla="*/ 0 w 7162978"/>
              <a:gd name="connsiteY7" fmla="*/ 3052818 h 6105636"/>
              <a:gd name="connsiteX0" fmla="*/ 0 w 7162978"/>
              <a:gd name="connsiteY0" fmla="*/ 3052818 h 6105636"/>
              <a:gd name="connsiteX1" fmla="*/ 3052818 w 7162978"/>
              <a:gd name="connsiteY1" fmla="*/ 0 h 6105636"/>
              <a:gd name="connsiteX2" fmla="*/ 6395982 w 7162978"/>
              <a:gd name="connsiteY2" fmla="*/ 11574 h 6105636"/>
              <a:gd name="connsiteX3" fmla="*/ 6462532 w 7162978"/>
              <a:gd name="connsiteY3" fmla="*/ 3052818 h 6105636"/>
              <a:gd name="connsiteX4" fmla="*/ 6462532 w 7162978"/>
              <a:gd name="connsiteY4" fmla="*/ 3052818 h 6105636"/>
              <a:gd name="connsiteX5" fmla="*/ 3409714 w 7162978"/>
              <a:gd name="connsiteY5" fmla="*/ 6105636 h 6105636"/>
              <a:gd name="connsiteX6" fmla="*/ 3052818 w 7162978"/>
              <a:gd name="connsiteY6" fmla="*/ 6105636 h 6105636"/>
              <a:gd name="connsiteX7" fmla="*/ 0 w 7162978"/>
              <a:gd name="connsiteY7" fmla="*/ 3052818 h 6105636"/>
              <a:gd name="connsiteX0" fmla="*/ 0 w 7162978"/>
              <a:gd name="connsiteY0" fmla="*/ 3052818 h 6105636"/>
              <a:gd name="connsiteX1" fmla="*/ 3052818 w 7162978"/>
              <a:gd name="connsiteY1" fmla="*/ 0 h 6105636"/>
              <a:gd name="connsiteX2" fmla="*/ 6395982 w 7162978"/>
              <a:gd name="connsiteY2" fmla="*/ 11574 h 6105636"/>
              <a:gd name="connsiteX3" fmla="*/ 6462532 w 7162978"/>
              <a:gd name="connsiteY3" fmla="*/ 3052818 h 6105636"/>
              <a:gd name="connsiteX4" fmla="*/ 6462532 w 7162978"/>
              <a:gd name="connsiteY4" fmla="*/ 3052818 h 6105636"/>
              <a:gd name="connsiteX5" fmla="*/ 3409714 w 7162978"/>
              <a:gd name="connsiteY5" fmla="*/ 6105636 h 6105636"/>
              <a:gd name="connsiteX6" fmla="*/ 3052818 w 7162978"/>
              <a:gd name="connsiteY6" fmla="*/ 6105636 h 6105636"/>
              <a:gd name="connsiteX7" fmla="*/ 0 w 7162978"/>
              <a:gd name="connsiteY7" fmla="*/ 3052818 h 6105636"/>
              <a:gd name="connsiteX0" fmla="*/ 0 w 6750471"/>
              <a:gd name="connsiteY0" fmla="*/ 3052818 h 6105636"/>
              <a:gd name="connsiteX1" fmla="*/ 3052818 w 6750471"/>
              <a:gd name="connsiteY1" fmla="*/ 0 h 6105636"/>
              <a:gd name="connsiteX2" fmla="*/ 6395982 w 6750471"/>
              <a:gd name="connsiteY2" fmla="*/ 11574 h 6105636"/>
              <a:gd name="connsiteX3" fmla="*/ 6462532 w 6750471"/>
              <a:gd name="connsiteY3" fmla="*/ 3052818 h 6105636"/>
              <a:gd name="connsiteX4" fmla="*/ 6462532 w 6750471"/>
              <a:gd name="connsiteY4" fmla="*/ 3052818 h 6105636"/>
              <a:gd name="connsiteX5" fmla="*/ 3409714 w 6750471"/>
              <a:gd name="connsiteY5" fmla="*/ 6105636 h 6105636"/>
              <a:gd name="connsiteX6" fmla="*/ 3052818 w 6750471"/>
              <a:gd name="connsiteY6" fmla="*/ 6105636 h 6105636"/>
              <a:gd name="connsiteX7" fmla="*/ 0 w 6750471"/>
              <a:gd name="connsiteY7" fmla="*/ 3052818 h 6105636"/>
              <a:gd name="connsiteX0" fmla="*/ 0 w 6462532"/>
              <a:gd name="connsiteY0" fmla="*/ 3052818 h 6105636"/>
              <a:gd name="connsiteX1" fmla="*/ 3052818 w 6462532"/>
              <a:gd name="connsiteY1" fmla="*/ 0 h 6105636"/>
              <a:gd name="connsiteX2" fmla="*/ 6395982 w 6462532"/>
              <a:gd name="connsiteY2" fmla="*/ 11574 h 6105636"/>
              <a:gd name="connsiteX3" fmla="*/ 6462532 w 6462532"/>
              <a:gd name="connsiteY3" fmla="*/ 3052818 h 6105636"/>
              <a:gd name="connsiteX4" fmla="*/ 6462532 w 6462532"/>
              <a:gd name="connsiteY4" fmla="*/ 3052818 h 6105636"/>
              <a:gd name="connsiteX5" fmla="*/ 3409714 w 6462532"/>
              <a:gd name="connsiteY5" fmla="*/ 6105636 h 6105636"/>
              <a:gd name="connsiteX6" fmla="*/ 3052818 w 6462532"/>
              <a:gd name="connsiteY6" fmla="*/ 6105636 h 6105636"/>
              <a:gd name="connsiteX7" fmla="*/ 0 w 6462532"/>
              <a:gd name="connsiteY7" fmla="*/ 3052818 h 6105636"/>
              <a:gd name="connsiteX0" fmla="*/ 0 w 6477004"/>
              <a:gd name="connsiteY0" fmla="*/ 3052819 h 6105637"/>
              <a:gd name="connsiteX1" fmla="*/ 3052818 w 6477004"/>
              <a:gd name="connsiteY1" fmla="*/ 1 h 6105637"/>
              <a:gd name="connsiteX2" fmla="*/ 6477004 w 6477004"/>
              <a:gd name="connsiteY2" fmla="*/ 0 h 6105637"/>
              <a:gd name="connsiteX3" fmla="*/ 6462532 w 6477004"/>
              <a:gd name="connsiteY3" fmla="*/ 3052819 h 6105637"/>
              <a:gd name="connsiteX4" fmla="*/ 6462532 w 6477004"/>
              <a:gd name="connsiteY4" fmla="*/ 3052819 h 6105637"/>
              <a:gd name="connsiteX5" fmla="*/ 3409714 w 6477004"/>
              <a:gd name="connsiteY5" fmla="*/ 6105637 h 6105637"/>
              <a:gd name="connsiteX6" fmla="*/ 3052818 w 6477004"/>
              <a:gd name="connsiteY6" fmla="*/ 6105637 h 6105637"/>
              <a:gd name="connsiteX7" fmla="*/ 0 w 6477004"/>
              <a:gd name="connsiteY7" fmla="*/ 3052819 h 6105637"/>
              <a:gd name="connsiteX0" fmla="*/ 0 w 6477004"/>
              <a:gd name="connsiteY0" fmla="*/ 3052819 h 6105637"/>
              <a:gd name="connsiteX1" fmla="*/ 3052818 w 6477004"/>
              <a:gd name="connsiteY1" fmla="*/ 1 h 6105637"/>
              <a:gd name="connsiteX2" fmla="*/ 6477004 w 6477004"/>
              <a:gd name="connsiteY2" fmla="*/ 0 h 6105637"/>
              <a:gd name="connsiteX3" fmla="*/ 6462532 w 6477004"/>
              <a:gd name="connsiteY3" fmla="*/ 3052819 h 6105637"/>
              <a:gd name="connsiteX4" fmla="*/ 5756477 w 6477004"/>
              <a:gd name="connsiteY4" fmla="*/ 3018095 h 6105637"/>
              <a:gd name="connsiteX5" fmla="*/ 3409714 w 6477004"/>
              <a:gd name="connsiteY5" fmla="*/ 6105637 h 6105637"/>
              <a:gd name="connsiteX6" fmla="*/ 3052818 w 6477004"/>
              <a:gd name="connsiteY6" fmla="*/ 6105637 h 6105637"/>
              <a:gd name="connsiteX7" fmla="*/ 0 w 6477004"/>
              <a:gd name="connsiteY7" fmla="*/ 3052819 h 6105637"/>
              <a:gd name="connsiteX0" fmla="*/ 0 w 6477004"/>
              <a:gd name="connsiteY0" fmla="*/ 3052819 h 6105637"/>
              <a:gd name="connsiteX1" fmla="*/ 3052818 w 6477004"/>
              <a:gd name="connsiteY1" fmla="*/ 1 h 6105637"/>
              <a:gd name="connsiteX2" fmla="*/ 6477004 w 6477004"/>
              <a:gd name="connsiteY2" fmla="*/ 0 h 6105637"/>
              <a:gd name="connsiteX3" fmla="*/ 6462532 w 6477004"/>
              <a:gd name="connsiteY3" fmla="*/ 3052819 h 6105637"/>
              <a:gd name="connsiteX4" fmla="*/ 3409714 w 6477004"/>
              <a:gd name="connsiteY4" fmla="*/ 6105637 h 6105637"/>
              <a:gd name="connsiteX5" fmla="*/ 3052818 w 6477004"/>
              <a:gd name="connsiteY5" fmla="*/ 6105637 h 6105637"/>
              <a:gd name="connsiteX6" fmla="*/ 0 w 6477004"/>
              <a:gd name="connsiteY6" fmla="*/ 3052819 h 6105637"/>
              <a:gd name="connsiteX0" fmla="*/ 0 w 6477004"/>
              <a:gd name="connsiteY0" fmla="*/ 3052819 h 6108535"/>
              <a:gd name="connsiteX1" fmla="*/ 3052818 w 6477004"/>
              <a:gd name="connsiteY1" fmla="*/ 1 h 6108535"/>
              <a:gd name="connsiteX2" fmla="*/ 6477004 w 6477004"/>
              <a:gd name="connsiteY2" fmla="*/ 0 h 6108535"/>
              <a:gd name="connsiteX3" fmla="*/ 6462532 w 6477004"/>
              <a:gd name="connsiteY3" fmla="*/ 6108535 h 6108535"/>
              <a:gd name="connsiteX4" fmla="*/ 3409714 w 6477004"/>
              <a:gd name="connsiteY4" fmla="*/ 6105637 h 6108535"/>
              <a:gd name="connsiteX5" fmla="*/ 3052818 w 6477004"/>
              <a:gd name="connsiteY5" fmla="*/ 6105637 h 6108535"/>
              <a:gd name="connsiteX6" fmla="*/ 0 w 6477004"/>
              <a:gd name="connsiteY6" fmla="*/ 3052819 h 6108535"/>
              <a:gd name="connsiteX0" fmla="*/ 0 w 6477004"/>
              <a:gd name="connsiteY0" fmla="*/ 3052819 h 6108535"/>
              <a:gd name="connsiteX1" fmla="*/ 3052818 w 6477004"/>
              <a:gd name="connsiteY1" fmla="*/ 1 h 6108535"/>
              <a:gd name="connsiteX2" fmla="*/ 6477004 w 6477004"/>
              <a:gd name="connsiteY2" fmla="*/ 0 h 6108535"/>
              <a:gd name="connsiteX3" fmla="*/ 6323635 w 6477004"/>
              <a:gd name="connsiteY3" fmla="*/ 6108535 h 6108535"/>
              <a:gd name="connsiteX4" fmla="*/ 3409714 w 6477004"/>
              <a:gd name="connsiteY4" fmla="*/ 6105637 h 6108535"/>
              <a:gd name="connsiteX5" fmla="*/ 3052818 w 6477004"/>
              <a:gd name="connsiteY5" fmla="*/ 6105637 h 6108535"/>
              <a:gd name="connsiteX6" fmla="*/ 0 w 6477004"/>
              <a:gd name="connsiteY6" fmla="*/ 3052819 h 6108535"/>
              <a:gd name="connsiteX0" fmla="*/ 0 w 6326533"/>
              <a:gd name="connsiteY0" fmla="*/ 3052819 h 6108535"/>
              <a:gd name="connsiteX1" fmla="*/ 3052818 w 6326533"/>
              <a:gd name="connsiteY1" fmla="*/ 1 h 6108535"/>
              <a:gd name="connsiteX2" fmla="*/ 6326533 w 6326533"/>
              <a:gd name="connsiteY2" fmla="*/ 0 h 6108535"/>
              <a:gd name="connsiteX3" fmla="*/ 6323635 w 6326533"/>
              <a:gd name="connsiteY3" fmla="*/ 6108535 h 6108535"/>
              <a:gd name="connsiteX4" fmla="*/ 3409714 w 6326533"/>
              <a:gd name="connsiteY4" fmla="*/ 6105637 h 6108535"/>
              <a:gd name="connsiteX5" fmla="*/ 3052818 w 6326533"/>
              <a:gd name="connsiteY5" fmla="*/ 6105637 h 6108535"/>
              <a:gd name="connsiteX6" fmla="*/ 0 w 6326533"/>
              <a:gd name="connsiteY6" fmla="*/ 3052819 h 61085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26533" h="6108535">
                <a:moveTo>
                  <a:pt x="0" y="3052819"/>
                </a:moveTo>
                <a:cubicBezTo>
                  <a:pt x="0" y="1366794"/>
                  <a:pt x="1366793" y="1"/>
                  <a:pt x="3052818" y="1"/>
                </a:cubicBezTo>
                <a:lnTo>
                  <a:pt x="6326533" y="0"/>
                </a:lnTo>
                <a:lnTo>
                  <a:pt x="6323635" y="6108535"/>
                </a:lnTo>
                <a:lnTo>
                  <a:pt x="3409714" y="6105637"/>
                </a:lnTo>
                <a:lnTo>
                  <a:pt x="3052818" y="6105637"/>
                </a:lnTo>
                <a:cubicBezTo>
                  <a:pt x="1366793" y="6105637"/>
                  <a:pt x="0" y="4738844"/>
                  <a:pt x="0" y="3052819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E02383DA-65B3-044E-9E1B-2CC00A0B1CC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76110" y="2303031"/>
            <a:ext cx="3266048" cy="1125969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ts val="2850"/>
              </a:lnSpc>
              <a:defRPr sz="2700" b="1" i="0" baseline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F239D86-1AC3-1D48-9675-22CEFBB263F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76109" y="3835927"/>
            <a:ext cx="3266049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itle of Position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91BF6710-27B9-2444-8317-2C64F0D3084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76109" y="4094941"/>
            <a:ext cx="3266049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Department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669B2D41-B11D-9D45-B189-F838AC342B0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176109" y="4349428"/>
            <a:ext cx="3266049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D7467C81-9D88-4140-B42C-28DFB564647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176109" y="3577406"/>
            <a:ext cx="3266049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51C63AF0-2F8F-40EB-03A7-E65BBAC43C5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24926" y="277419"/>
            <a:ext cx="844617" cy="394888"/>
          </a:xfrm>
          <a:prstGeom prst="rect">
            <a:avLst/>
          </a:prstGeom>
        </p:spPr>
      </p:pic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1A11203-E2BB-019E-8559-28DBE58D7D1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176108" y="6338959"/>
            <a:ext cx="5774753" cy="234001"/>
          </a:xfrm>
        </p:spPr>
        <p:txBody>
          <a:bodyPr tIns="0" rIns="0" bIns="0" anchor="ctr" anchorCtr="0">
            <a:noAutofit/>
          </a:bodyPr>
          <a:lstStyle>
            <a:lvl1pPr marL="0" marR="0" indent="0" algn="l" defTabSz="68561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 sz="600"/>
            </a:lvl1pPr>
            <a:lvl2pPr>
              <a:defRPr sz="6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marL="0" marR="0" lvl="0" indent="0" algn="l" defTabSz="68561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rivate and confidential. For internal use only.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4E797FA9-5DA4-89E1-09E5-D84ECC70A6D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8093234" y="6132508"/>
            <a:ext cx="825739" cy="37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4430355"/>
      </p:ext>
    </p:extLst>
  </p:cSld>
  <p:clrMapOvr>
    <a:masterClrMapping/>
  </p:clrMapOvr>
  <p:transition spd="slow">
    <p:push dir="u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D&amp;T 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erson wearing virtual reality goggles&#10;&#10;Description automatically generated">
            <a:extLst>
              <a:ext uri="{FF2B5EF4-FFF2-40B4-BE49-F238E27FC236}">
                <a16:creationId xmlns:a16="http://schemas.microsoft.com/office/drawing/2014/main" id="{330BD1C9-7B58-3DC9-6523-7C3D1BD394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3526" y="0"/>
            <a:ext cx="7715248" cy="6857998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B2C7E333-1422-0FEE-7761-61AFEEF2D6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0" y="0"/>
            <a:ext cx="4862015" cy="6858000"/>
          </a:xfrm>
          <a:prstGeom prst="rect">
            <a:avLst/>
          </a:prstGeom>
        </p:spPr>
      </p:pic>
      <p:sp>
        <p:nvSpPr>
          <p:cNvPr id="33" name="Title 1">
            <a:extLst>
              <a:ext uri="{FF2B5EF4-FFF2-40B4-BE49-F238E27FC236}">
                <a16:creationId xmlns:a16="http://schemas.microsoft.com/office/drawing/2014/main" id="{E02383DA-65B3-044E-9E1B-2CC00A0B1CC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19958" y="1791297"/>
            <a:ext cx="3594682" cy="1999617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>
              <a:lnSpc>
                <a:spcPct val="70000"/>
              </a:lnSpc>
              <a:defRPr sz="4050" b="1" i="0" baseline="0">
                <a:solidFill>
                  <a:schemeClr val="accent2"/>
                </a:solidFill>
                <a:latin typeface="Calibri" panose="020F0502020204030204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/>
              <a:t>DIVIDER SLIDE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D7467C81-9D88-4140-B42C-28DFB564647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40532" y="3741998"/>
            <a:ext cx="3594682" cy="6745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DIVIDER SLIDE SUBTIT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86BB4347-F18A-880A-34E4-E893943E2F6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5689411" y="1"/>
            <a:ext cx="3454589" cy="6857999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A80C923B-2774-6EB5-1200-39C96F2D811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258197" y="6219795"/>
            <a:ext cx="685800" cy="313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0362156"/>
      </p:ext>
    </p:extLst>
  </p:cSld>
  <p:clrMapOvr>
    <a:masterClrMapping/>
  </p:clrMapOvr>
  <p:transition spd="slow">
    <p:push dir="u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D&amp;T Title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>
            <a:extLst>
              <a:ext uri="{FF2B5EF4-FFF2-40B4-BE49-F238E27FC236}">
                <a16:creationId xmlns:a16="http://schemas.microsoft.com/office/drawing/2014/main" id="{82B9CECE-7D8F-8C4A-AFC6-A963B1F05594}"/>
              </a:ext>
            </a:extLst>
          </p:cNvPr>
          <p:cNvSpPr/>
          <p:nvPr/>
        </p:nvSpPr>
        <p:spPr>
          <a:xfrm>
            <a:off x="0" y="61264"/>
            <a:ext cx="191386" cy="8490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350">
              <a:solidFill>
                <a:schemeClr val="accent1"/>
              </a:solidFill>
            </a:endParaRP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1E79114-5B74-9547-8292-DAB8965D43F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1754" y="506"/>
            <a:ext cx="8594519" cy="3428494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64472"/>
              <a:gd name="connsiteY0" fmla="*/ 0 h 6630428"/>
              <a:gd name="connsiteX1" fmla="*/ 11864472 w 11864472"/>
              <a:gd name="connsiteY1" fmla="*/ 188353 h 6630428"/>
              <a:gd name="connsiteX2" fmla="*/ 11855613 w 11864472"/>
              <a:gd name="connsiteY2" fmla="*/ 6628774 h 6630428"/>
              <a:gd name="connsiteX3" fmla="*/ 579722 w 11864472"/>
              <a:gd name="connsiteY3" fmla="*/ 6630428 h 6630428"/>
              <a:gd name="connsiteX4" fmla="*/ 0 w 11864472"/>
              <a:gd name="connsiteY4" fmla="*/ 6050706 h 6630428"/>
              <a:gd name="connsiteX5" fmla="*/ 0 w 11864472"/>
              <a:gd name="connsiteY5" fmla="*/ 0 h 6630428"/>
              <a:gd name="connsiteX0" fmla="*/ 0 w 11864472"/>
              <a:gd name="connsiteY0" fmla="*/ 13527 h 6643955"/>
              <a:gd name="connsiteX1" fmla="*/ 11864472 w 11864472"/>
              <a:gd name="connsiteY1" fmla="*/ 0 h 6643955"/>
              <a:gd name="connsiteX2" fmla="*/ 11855613 w 11864472"/>
              <a:gd name="connsiteY2" fmla="*/ 6642301 h 6643955"/>
              <a:gd name="connsiteX3" fmla="*/ 579722 w 11864472"/>
              <a:gd name="connsiteY3" fmla="*/ 6643955 h 6643955"/>
              <a:gd name="connsiteX4" fmla="*/ 0 w 11864472"/>
              <a:gd name="connsiteY4" fmla="*/ 6064233 h 6643955"/>
              <a:gd name="connsiteX5" fmla="*/ 0 w 11864472"/>
              <a:gd name="connsiteY5" fmla="*/ 13527 h 6643955"/>
              <a:gd name="connsiteX0" fmla="*/ 0 w 11864472"/>
              <a:gd name="connsiteY0" fmla="*/ 1319813 h 6643955"/>
              <a:gd name="connsiteX1" fmla="*/ 11864472 w 11864472"/>
              <a:gd name="connsiteY1" fmla="*/ 0 h 6643955"/>
              <a:gd name="connsiteX2" fmla="*/ 11855613 w 11864472"/>
              <a:gd name="connsiteY2" fmla="*/ 6642301 h 6643955"/>
              <a:gd name="connsiteX3" fmla="*/ 579722 w 11864472"/>
              <a:gd name="connsiteY3" fmla="*/ 6643955 h 6643955"/>
              <a:gd name="connsiteX4" fmla="*/ 0 w 11864472"/>
              <a:gd name="connsiteY4" fmla="*/ 6064233 h 6643955"/>
              <a:gd name="connsiteX5" fmla="*/ 0 w 11864472"/>
              <a:gd name="connsiteY5" fmla="*/ 1319813 h 6643955"/>
              <a:gd name="connsiteX0" fmla="*/ 0 w 11864472"/>
              <a:gd name="connsiteY0" fmla="*/ 13527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13527 h 5337669"/>
              <a:gd name="connsiteX0" fmla="*/ 0 w 11864472"/>
              <a:gd name="connsiteY0" fmla="*/ 1652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1652 h 5337669"/>
              <a:gd name="connsiteX0" fmla="*/ 0 w 11864472"/>
              <a:gd name="connsiteY0" fmla="*/ 2201927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2201927 h 5337669"/>
              <a:gd name="connsiteX0" fmla="*/ 0 w 11864472"/>
              <a:gd name="connsiteY0" fmla="*/ 1652 h 3137394"/>
              <a:gd name="connsiteX1" fmla="*/ 11864472 w 11864472"/>
              <a:gd name="connsiteY1" fmla="*/ 0 h 3137394"/>
              <a:gd name="connsiteX2" fmla="*/ 11855613 w 11864472"/>
              <a:gd name="connsiteY2" fmla="*/ 3135740 h 3137394"/>
              <a:gd name="connsiteX3" fmla="*/ 579722 w 11864472"/>
              <a:gd name="connsiteY3" fmla="*/ 3137394 h 3137394"/>
              <a:gd name="connsiteX4" fmla="*/ 0 w 11864472"/>
              <a:gd name="connsiteY4" fmla="*/ 2557672 h 3137394"/>
              <a:gd name="connsiteX5" fmla="*/ 0 w 11864472"/>
              <a:gd name="connsiteY5" fmla="*/ 1652 h 3137394"/>
              <a:gd name="connsiteX0" fmla="*/ 0 w 11864472"/>
              <a:gd name="connsiteY0" fmla="*/ 0 h 3420555"/>
              <a:gd name="connsiteX1" fmla="*/ 11864472 w 11864472"/>
              <a:gd name="connsiteY1" fmla="*/ 283161 h 3420555"/>
              <a:gd name="connsiteX2" fmla="*/ 11855613 w 11864472"/>
              <a:gd name="connsiteY2" fmla="*/ 3418901 h 3420555"/>
              <a:gd name="connsiteX3" fmla="*/ 579722 w 11864472"/>
              <a:gd name="connsiteY3" fmla="*/ 3420555 h 3420555"/>
              <a:gd name="connsiteX4" fmla="*/ 0 w 11864472"/>
              <a:gd name="connsiteY4" fmla="*/ 2840833 h 3420555"/>
              <a:gd name="connsiteX5" fmla="*/ 0 w 11864472"/>
              <a:gd name="connsiteY5" fmla="*/ 0 h 3420555"/>
              <a:gd name="connsiteX0" fmla="*/ 0 w 11864472"/>
              <a:gd name="connsiteY0" fmla="*/ 1652 h 3422207"/>
              <a:gd name="connsiteX1" fmla="*/ 11864472 w 11864472"/>
              <a:gd name="connsiteY1" fmla="*/ 0 h 3422207"/>
              <a:gd name="connsiteX2" fmla="*/ 11855613 w 11864472"/>
              <a:gd name="connsiteY2" fmla="*/ 3420553 h 3422207"/>
              <a:gd name="connsiteX3" fmla="*/ 579722 w 11864472"/>
              <a:gd name="connsiteY3" fmla="*/ 3422207 h 3422207"/>
              <a:gd name="connsiteX4" fmla="*/ 0 w 11864472"/>
              <a:gd name="connsiteY4" fmla="*/ 2842485 h 3422207"/>
              <a:gd name="connsiteX5" fmla="*/ 0 w 11864472"/>
              <a:gd name="connsiteY5" fmla="*/ 1652 h 3422207"/>
              <a:gd name="connsiteX0" fmla="*/ 0 w 11855613"/>
              <a:gd name="connsiteY0" fmla="*/ 0 h 3420555"/>
              <a:gd name="connsiteX1" fmla="*/ 11834492 w 11855613"/>
              <a:gd name="connsiteY1" fmla="*/ 58309 h 3420555"/>
              <a:gd name="connsiteX2" fmla="*/ 11855613 w 11855613"/>
              <a:gd name="connsiteY2" fmla="*/ 3418901 h 3420555"/>
              <a:gd name="connsiteX3" fmla="*/ 579722 w 11855613"/>
              <a:gd name="connsiteY3" fmla="*/ 3420555 h 3420555"/>
              <a:gd name="connsiteX4" fmla="*/ 0 w 11855613"/>
              <a:gd name="connsiteY4" fmla="*/ 2840833 h 3420555"/>
              <a:gd name="connsiteX5" fmla="*/ 0 w 11855613"/>
              <a:gd name="connsiteY5" fmla="*/ 0 h 3420555"/>
              <a:gd name="connsiteX0" fmla="*/ 0 w 11855613"/>
              <a:gd name="connsiteY0" fmla="*/ 1652 h 3362246"/>
              <a:gd name="connsiteX1" fmla="*/ 11834492 w 11855613"/>
              <a:gd name="connsiteY1" fmla="*/ 0 h 3362246"/>
              <a:gd name="connsiteX2" fmla="*/ 11855613 w 11855613"/>
              <a:gd name="connsiteY2" fmla="*/ 3360592 h 3362246"/>
              <a:gd name="connsiteX3" fmla="*/ 579722 w 11855613"/>
              <a:gd name="connsiteY3" fmla="*/ 3362246 h 3362246"/>
              <a:gd name="connsiteX4" fmla="*/ 0 w 11855613"/>
              <a:gd name="connsiteY4" fmla="*/ 2782524 h 3362246"/>
              <a:gd name="connsiteX5" fmla="*/ 0 w 11855613"/>
              <a:gd name="connsiteY5" fmla="*/ 1652 h 3362246"/>
              <a:gd name="connsiteX0" fmla="*/ 0 w 11864473"/>
              <a:gd name="connsiteY0" fmla="*/ 0 h 3360594"/>
              <a:gd name="connsiteX1" fmla="*/ 11864473 w 11864473"/>
              <a:gd name="connsiteY1" fmla="*/ 13338 h 3360594"/>
              <a:gd name="connsiteX2" fmla="*/ 11855613 w 11864473"/>
              <a:gd name="connsiteY2" fmla="*/ 3358940 h 3360594"/>
              <a:gd name="connsiteX3" fmla="*/ 579722 w 11864473"/>
              <a:gd name="connsiteY3" fmla="*/ 3360594 h 3360594"/>
              <a:gd name="connsiteX4" fmla="*/ 0 w 11864473"/>
              <a:gd name="connsiteY4" fmla="*/ 2780872 h 3360594"/>
              <a:gd name="connsiteX5" fmla="*/ 0 w 11864473"/>
              <a:gd name="connsiteY5" fmla="*/ 0 h 3360594"/>
              <a:gd name="connsiteX0" fmla="*/ 0 w 11864473"/>
              <a:gd name="connsiteY0" fmla="*/ 1652 h 3362246"/>
              <a:gd name="connsiteX1" fmla="*/ 11864473 w 11864473"/>
              <a:gd name="connsiteY1" fmla="*/ 0 h 3362246"/>
              <a:gd name="connsiteX2" fmla="*/ 11855613 w 11864473"/>
              <a:gd name="connsiteY2" fmla="*/ 3360592 h 3362246"/>
              <a:gd name="connsiteX3" fmla="*/ 579722 w 11864473"/>
              <a:gd name="connsiteY3" fmla="*/ 3362246 h 3362246"/>
              <a:gd name="connsiteX4" fmla="*/ 0 w 11864473"/>
              <a:gd name="connsiteY4" fmla="*/ 2782524 h 3362246"/>
              <a:gd name="connsiteX5" fmla="*/ 0 w 11864473"/>
              <a:gd name="connsiteY5" fmla="*/ 1652 h 3362246"/>
              <a:gd name="connsiteX0" fmla="*/ 0 w 11855629"/>
              <a:gd name="connsiteY0" fmla="*/ 1652 h 3362246"/>
              <a:gd name="connsiteX1" fmla="*/ 11459359 w 11855629"/>
              <a:gd name="connsiteY1" fmla="*/ 0 h 3362246"/>
              <a:gd name="connsiteX2" fmla="*/ 11855613 w 11855629"/>
              <a:gd name="connsiteY2" fmla="*/ 3360592 h 3362246"/>
              <a:gd name="connsiteX3" fmla="*/ 579722 w 11855629"/>
              <a:gd name="connsiteY3" fmla="*/ 3362246 h 3362246"/>
              <a:gd name="connsiteX4" fmla="*/ 0 w 11855629"/>
              <a:gd name="connsiteY4" fmla="*/ 2782524 h 3362246"/>
              <a:gd name="connsiteX5" fmla="*/ 0 w 11855629"/>
              <a:gd name="connsiteY5" fmla="*/ 1652 h 3362246"/>
              <a:gd name="connsiteX0" fmla="*/ 0 w 11459359"/>
              <a:gd name="connsiteY0" fmla="*/ 1652 h 3362246"/>
              <a:gd name="connsiteX1" fmla="*/ 11459359 w 11459359"/>
              <a:gd name="connsiteY1" fmla="*/ 0 h 3362246"/>
              <a:gd name="connsiteX2" fmla="*/ 11438924 w 11459359"/>
              <a:gd name="connsiteY2" fmla="*/ 3360592 h 3362246"/>
              <a:gd name="connsiteX3" fmla="*/ 579722 w 11459359"/>
              <a:gd name="connsiteY3" fmla="*/ 3362246 h 3362246"/>
              <a:gd name="connsiteX4" fmla="*/ 0 w 11459359"/>
              <a:gd name="connsiteY4" fmla="*/ 2782524 h 3362246"/>
              <a:gd name="connsiteX5" fmla="*/ 0 w 11459359"/>
              <a:gd name="connsiteY5" fmla="*/ 1652 h 3362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59359" h="3362246">
                <a:moveTo>
                  <a:pt x="0" y="1652"/>
                </a:moveTo>
                <a:lnTo>
                  <a:pt x="11459359" y="0"/>
                </a:lnTo>
                <a:cubicBezTo>
                  <a:pt x="11456406" y="1115201"/>
                  <a:pt x="11441877" y="2245391"/>
                  <a:pt x="11438924" y="3360592"/>
                </a:cubicBezTo>
                <a:lnTo>
                  <a:pt x="579722" y="3362246"/>
                </a:lnTo>
                <a:cubicBezTo>
                  <a:pt x="259550" y="3362246"/>
                  <a:pt x="0" y="3102696"/>
                  <a:pt x="0" y="2782524"/>
                </a:cubicBezTo>
                <a:lnTo>
                  <a:pt x="0" y="1652"/>
                </a:lnTo>
                <a:close/>
              </a:path>
            </a:pathLst>
          </a:custGeom>
          <a:noFill/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P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F5E8E0A-41D4-8346-9248-0B9AAC7123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6047" y="3956817"/>
            <a:ext cx="5774753" cy="1015681"/>
          </a:xfrm>
          <a:prstGeom prst="rect">
            <a:avLst/>
          </a:prstGeom>
        </p:spPr>
        <p:txBody>
          <a:bodyPr wrap="square" lIns="0" tIns="0" rIns="0" bIns="0" anchor="b" anchorCtr="0">
            <a:normAutofit/>
          </a:bodyPr>
          <a:lstStyle>
            <a:lvl1pPr>
              <a:lnSpc>
                <a:spcPts val="2850"/>
              </a:lnSpc>
              <a:defRPr sz="2700" b="1" i="0" baseline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5A63B8E-5554-A04E-B4C5-97ECEE58B6CC}"/>
              </a:ext>
            </a:extLst>
          </p:cNvPr>
          <p:cNvSpPr/>
          <p:nvPr/>
        </p:nvSpPr>
        <p:spPr>
          <a:xfrm>
            <a:off x="561754" y="3764031"/>
            <a:ext cx="72900" cy="27071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350">
              <a:solidFill>
                <a:srgbClr val="FFFFFF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C2637423-F180-3943-B758-C8CCFA816E0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78941" y="6357944"/>
            <a:ext cx="1468934" cy="117462"/>
          </a:xfrm>
          <a:prstGeom prst="rect">
            <a:avLst/>
          </a:prstGeom>
        </p:spPr>
      </p:pic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F7327E43-4F43-914D-BE65-DB0ADB5A5E1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96046" y="5256032"/>
            <a:ext cx="5774753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itle of Position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4A23AA60-6137-8841-B2ED-51B2F2E5C1B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6046" y="5515046"/>
            <a:ext cx="5774753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Department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B4FEAB2-22C6-3446-B4D2-5B610A729BC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6046" y="5769533"/>
            <a:ext cx="5774753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4085F378-E668-A648-B7B1-8C76C309ED6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96046" y="4997511"/>
            <a:ext cx="5774753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C1E31EF6-BED5-C14F-94AD-4E5C55B8551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96046" y="6027353"/>
            <a:ext cx="5774753" cy="234001"/>
          </a:xfrm>
        </p:spPr>
        <p:txBody>
          <a:bodyPr tIns="0" rIns="0" bIns="0" anchor="ctr" anchorCtr="0">
            <a:noAutofit/>
          </a:bodyPr>
          <a:lstStyle>
            <a:lvl1pPr marL="0" marR="0" indent="0" algn="l" defTabSz="68561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 sz="600"/>
            </a:lvl1pPr>
            <a:lvl2pPr>
              <a:defRPr sz="6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marL="0" marR="0" lvl="0" indent="0" algn="l" defTabSz="68561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rivate and confidential. For internal use only.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997333C-F4C2-90F7-BE72-0C6BADEE9F3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20000" y="3723142"/>
            <a:ext cx="1127760" cy="527267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8F10AFC6-D34D-49DF-43FF-6A6504CC0D6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912980" y="3871780"/>
            <a:ext cx="839804" cy="378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079001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orient="horz" pos="4065">
          <p15:clr>
            <a:srgbClr val="FBAE40"/>
          </p15:clr>
        </p15:guide>
        <p15:guide id="2" orient="horz" pos="2364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D&amp;T Title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E02383DA-65B3-044E-9E1B-2CC00A0B1CC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6047" y="2303031"/>
            <a:ext cx="5146613" cy="1125969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ts val="2850"/>
              </a:lnSpc>
              <a:defRPr sz="2700" b="1" i="0" baseline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2F9C2FE-7E43-3948-92F0-0CEA804BDBFE}"/>
              </a:ext>
            </a:extLst>
          </p:cNvPr>
          <p:cNvSpPr/>
          <p:nvPr/>
        </p:nvSpPr>
        <p:spPr>
          <a:xfrm>
            <a:off x="561754" y="2110246"/>
            <a:ext cx="72900" cy="27071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350">
              <a:solidFill>
                <a:srgbClr val="FFFFFF"/>
              </a:solidFill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F239D86-1AC3-1D48-9675-22CEFBB263F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6047" y="3835927"/>
            <a:ext cx="5146613" cy="2630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itle of Position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91BF6710-27B9-2444-8317-2C64F0D3084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6047" y="4094941"/>
            <a:ext cx="5146613" cy="2630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Department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669B2D41-B11D-9D45-B189-F838AC342B0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96047" y="4349428"/>
            <a:ext cx="5146613" cy="2630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D7467C81-9D88-4140-B42C-28DFB564647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96047" y="3577406"/>
            <a:ext cx="5146613" cy="2630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9909778-A51F-784D-ACA4-EC5DBA48BE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20537" y="6319956"/>
            <a:ext cx="4150262" cy="263075"/>
          </a:xfrm>
        </p:spPr>
        <p:txBody>
          <a:bodyPr tIns="0" rIns="0" bIns="0" anchor="ctr" anchorCtr="0">
            <a:noAutofit/>
          </a:bodyPr>
          <a:lstStyle>
            <a:lvl1pPr marL="0" marR="0" indent="0" algn="l" defTabSz="68561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 sz="600"/>
            </a:lvl1pPr>
            <a:lvl2pPr>
              <a:defRPr sz="6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marL="0" marR="0" lvl="0" indent="0" algn="l" defTabSz="68561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rivate and confidential. For internal use only.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BBC2DDA1-92B9-0A57-AFD3-48E951EAD6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88310" y="6024749"/>
            <a:ext cx="1096129" cy="512479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2F08A84D-36AB-96E8-45C8-4C450393EE3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896047" y="320310"/>
            <a:ext cx="853917" cy="384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1593475"/>
      </p:ext>
    </p:extLst>
  </p:cSld>
  <p:clrMapOvr>
    <a:masterClrMapping/>
  </p:clrMapOvr>
  <p:transition spd="slow">
    <p:push dir="u"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D&amp;T Divid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B2C7E333-1422-0FEE-7761-61AFEEF2D6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" y="0"/>
            <a:ext cx="4862015" cy="6858000"/>
          </a:xfrm>
          <a:prstGeom prst="rect">
            <a:avLst/>
          </a:prstGeom>
        </p:spPr>
      </p:pic>
      <p:sp>
        <p:nvSpPr>
          <p:cNvPr id="33" name="Title 1">
            <a:extLst>
              <a:ext uri="{FF2B5EF4-FFF2-40B4-BE49-F238E27FC236}">
                <a16:creationId xmlns:a16="http://schemas.microsoft.com/office/drawing/2014/main" id="{E02383DA-65B3-044E-9E1B-2CC00A0B1CC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19958" y="1791297"/>
            <a:ext cx="3594682" cy="1999617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>
              <a:lnSpc>
                <a:spcPct val="70000"/>
              </a:lnSpc>
              <a:defRPr sz="4050" b="1" i="0" baseline="0">
                <a:solidFill>
                  <a:schemeClr val="bg1"/>
                </a:solidFill>
                <a:latin typeface="Calibri" panose="020F0502020204030204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/>
              <a:t>DIVIDER SLIDE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D7467C81-9D88-4140-B42C-28DFB564647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40532" y="3741998"/>
            <a:ext cx="3594682" cy="6745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DIVIDER SLIDE SUBTIT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86BB4347-F18A-880A-34E4-E893943E2F6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5689411" y="1"/>
            <a:ext cx="3454589" cy="6857999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5E997114-5490-FDFC-33FF-328A0F24659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258197" y="6219795"/>
            <a:ext cx="685800" cy="313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7341201"/>
      </p:ext>
    </p:extLst>
  </p:cSld>
  <p:clrMapOvr>
    <a:masterClrMapping/>
  </p:clrMapOvr>
  <p:transition spd="slow">
    <p:push dir="u"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D&amp;T 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B2C7E333-1422-0FEE-7761-61AFEEF2D6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4862015" cy="6858000"/>
          </a:xfrm>
          <a:prstGeom prst="rect">
            <a:avLst/>
          </a:prstGeom>
        </p:spPr>
      </p:pic>
      <p:sp>
        <p:nvSpPr>
          <p:cNvPr id="33" name="Title 1">
            <a:extLst>
              <a:ext uri="{FF2B5EF4-FFF2-40B4-BE49-F238E27FC236}">
                <a16:creationId xmlns:a16="http://schemas.microsoft.com/office/drawing/2014/main" id="{E02383DA-65B3-044E-9E1B-2CC00A0B1CC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19958" y="1791297"/>
            <a:ext cx="3594682" cy="1999617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>
              <a:lnSpc>
                <a:spcPct val="70000"/>
              </a:lnSpc>
              <a:defRPr sz="4050" b="1" i="0" baseline="0">
                <a:solidFill>
                  <a:schemeClr val="accent2"/>
                </a:solidFill>
                <a:latin typeface="Calibri" panose="020F0502020204030204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/>
              <a:t>DIVIDER SLIDE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D7467C81-9D88-4140-B42C-28DFB564647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40532" y="3741998"/>
            <a:ext cx="3594682" cy="6745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DIVIDER SLIDE SUBTIT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86BB4347-F18A-880A-34E4-E893943E2F6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5689411" y="1"/>
            <a:ext cx="3454589" cy="6857999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A80C923B-2774-6EB5-1200-39C96F2D811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258197" y="6219795"/>
            <a:ext cx="685800" cy="313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855512"/>
      </p:ext>
    </p:extLst>
  </p:cSld>
  <p:clrMapOvr>
    <a:masterClrMapping/>
  </p:clrMapOvr>
  <p:transition spd="slow">
    <p:push dir="u"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eaking now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90900D34-4540-274B-A00D-CD50C2D2D53D}"/>
              </a:ext>
            </a:extLst>
          </p:cNvPr>
          <p:cNvSpPr txBox="1"/>
          <p:nvPr/>
        </p:nvSpPr>
        <p:spPr>
          <a:xfrm>
            <a:off x="2924388" y="2263281"/>
            <a:ext cx="5543857" cy="1156194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>
              <a:lnSpc>
                <a:spcPts val="3525"/>
              </a:lnSpc>
            </a:pPr>
            <a:r>
              <a:rPr lang="en-US" sz="2400" b="1" i="1">
                <a:solidFill>
                  <a:srgbClr val="34373F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Now Speaking... </a:t>
            </a:r>
          </a:p>
          <a:p>
            <a:pPr>
              <a:lnSpc>
                <a:spcPts val="3525"/>
              </a:lnSpc>
            </a:pPr>
            <a:endParaRPr lang="en-US" sz="3300" b="1">
              <a:solidFill>
                <a:srgbClr val="34373F"/>
              </a:solidFill>
              <a:latin typeface="Open Sans Semibold" panose="020B0606030504020204" pitchFamily="34" charset="0"/>
              <a:ea typeface="Open Sans Semibold" panose="020B0606030504020204" pitchFamily="34" charset="0"/>
              <a:cs typeface="Open Sans Semibold" panose="020B0606030504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B87F2ED-C73E-C049-BB61-E4BD613B9F04}"/>
              </a:ext>
            </a:extLst>
          </p:cNvPr>
          <p:cNvSpPr txBox="1"/>
          <p:nvPr/>
        </p:nvSpPr>
        <p:spPr>
          <a:xfrm>
            <a:off x="3076794" y="4000748"/>
            <a:ext cx="5543857" cy="80976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ts val="1800"/>
              </a:lnSpc>
            </a:pPr>
            <a:endParaRPr lang="en-GB" sz="1500">
              <a:solidFill>
                <a:srgbClr val="34373F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8A6CE02-54FE-674C-BE59-F8D77E5F34A0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555445" y="2087719"/>
            <a:ext cx="1998000" cy="2663513"/>
          </a:xfrm>
          <a:prstGeom prst="ellipse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200" i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i="1"/>
              <a:t>Click here to add photo</a:t>
            </a:r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B793DBF-CBC6-7644-84DF-88CCE33D5E6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24388" y="2949790"/>
            <a:ext cx="3346847" cy="643720"/>
          </a:xfrm>
        </p:spPr>
        <p:txBody>
          <a:bodyPr>
            <a:normAutofit/>
          </a:bodyPr>
          <a:lstStyle>
            <a:lvl1pPr marL="0" indent="0">
              <a:buNone/>
              <a:defRPr sz="3000" b="1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/>
              <a:t>Name Surname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977C9C7-BCE3-1F47-B084-E1B1998743E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4170" y="3708400"/>
            <a:ext cx="3346847" cy="441325"/>
          </a:xfrm>
        </p:spPr>
        <p:txBody>
          <a:bodyPr/>
          <a:lstStyle>
            <a:lvl1pPr marL="0" indent="0">
              <a:buNone/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Role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3E707A0F-FD50-054E-8931-04676B539E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24170" y="4182340"/>
            <a:ext cx="3346847" cy="441325"/>
          </a:xfrm>
        </p:spPr>
        <p:txBody>
          <a:bodyPr/>
          <a:lstStyle>
            <a:lvl1pPr marL="0" indent="0">
              <a:buNone/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cation</a:t>
            </a:r>
          </a:p>
        </p:txBody>
      </p:sp>
      <p:pic>
        <p:nvPicPr>
          <p:cNvPr id="2" name="Picture 1" descr="Takeda">
            <a:extLst>
              <a:ext uri="{FF2B5EF4-FFF2-40B4-BE49-F238E27FC236}">
                <a16:creationId xmlns:a16="http://schemas.microsoft.com/office/drawing/2014/main" id="{D42A8676-8CCE-D6EF-4BA8-1264866DCA5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1826" y="11928"/>
            <a:ext cx="1272174" cy="94078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13300E2E-49D5-4ED0-AFD3-148FA72CCD4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8093234" y="6293801"/>
            <a:ext cx="825739" cy="37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6540998"/>
      </p:ext>
    </p:extLst>
  </p:cSld>
  <p:clrMapOvr>
    <a:masterClrMapping/>
  </p:clrMapOvr>
  <p:transition spd="slow">
    <p:push dir="u"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D&amp;T Section 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E02383DA-65B3-044E-9E1B-2CC00A0B1CC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6048" y="2428659"/>
            <a:ext cx="3266048" cy="2279130"/>
          </a:xfrm>
          <a:prstGeom prst="rect">
            <a:avLst/>
          </a:prstGeom>
        </p:spPr>
        <p:txBody>
          <a:bodyPr wrap="square" lIns="0" tIns="0" rIns="0" bIns="0" anchor="ctr" anchorCtr="0">
            <a:normAutofit/>
          </a:bodyPr>
          <a:lstStyle>
            <a:lvl1pPr>
              <a:lnSpc>
                <a:spcPts val="2850"/>
              </a:lnSpc>
              <a:defRPr sz="2700" b="1" i="0" baseline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/>
              <a:t>Click to add section titl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2F9C2FE-7E43-3948-92F0-0CEA804BDBFE}"/>
              </a:ext>
            </a:extLst>
          </p:cNvPr>
          <p:cNvSpPr/>
          <p:nvPr/>
        </p:nvSpPr>
        <p:spPr>
          <a:xfrm>
            <a:off x="561754" y="2214633"/>
            <a:ext cx="72900" cy="27071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350">
              <a:solidFill>
                <a:srgbClr val="FFFFFF"/>
              </a:solidFill>
            </a:endParaRPr>
          </a:p>
        </p:txBody>
      </p:sp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46656F8F-0621-5F47-BF80-4A4E365A2D9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981906" y="-1"/>
            <a:ext cx="4174367" cy="5902961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64472"/>
              <a:gd name="connsiteY0" fmla="*/ 0 h 6630428"/>
              <a:gd name="connsiteX1" fmla="*/ 11864472 w 11864472"/>
              <a:gd name="connsiteY1" fmla="*/ 188353 h 6630428"/>
              <a:gd name="connsiteX2" fmla="*/ 11855613 w 11864472"/>
              <a:gd name="connsiteY2" fmla="*/ 6628774 h 6630428"/>
              <a:gd name="connsiteX3" fmla="*/ 579722 w 11864472"/>
              <a:gd name="connsiteY3" fmla="*/ 6630428 h 6630428"/>
              <a:gd name="connsiteX4" fmla="*/ 0 w 11864472"/>
              <a:gd name="connsiteY4" fmla="*/ 6050706 h 6630428"/>
              <a:gd name="connsiteX5" fmla="*/ 0 w 11864472"/>
              <a:gd name="connsiteY5" fmla="*/ 0 h 6630428"/>
              <a:gd name="connsiteX0" fmla="*/ 0 w 11864472"/>
              <a:gd name="connsiteY0" fmla="*/ 13527 h 6643955"/>
              <a:gd name="connsiteX1" fmla="*/ 11864472 w 11864472"/>
              <a:gd name="connsiteY1" fmla="*/ 0 h 6643955"/>
              <a:gd name="connsiteX2" fmla="*/ 11855613 w 11864472"/>
              <a:gd name="connsiteY2" fmla="*/ 6642301 h 6643955"/>
              <a:gd name="connsiteX3" fmla="*/ 579722 w 11864472"/>
              <a:gd name="connsiteY3" fmla="*/ 6643955 h 6643955"/>
              <a:gd name="connsiteX4" fmla="*/ 0 w 11864472"/>
              <a:gd name="connsiteY4" fmla="*/ 6064233 h 6643955"/>
              <a:gd name="connsiteX5" fmla="*/ 0 w 11864472"/>
              <a:gd name="connsiteY5" fmla="*/ 13527 h 6643955"/>
              <a:gd name="connsiteX0" fmla="*/ 0 w 11864472"/>
              <a:gd name="connsiteY0" fmla="*/ 1319813 h 6643955"/>
              <a:gd name="connsiteX1" fmla="*/ 11864472 w 11864472"/>
              <a:gd name="connsiteY1" fmla="*/ 0 h 6643955"/>
              <a:gd name="connsiteX2" fmla="*/ 11855613 w 11864472"/>
              <a:gd name="connsiteY2" fmla="*/ 6642301 h 6643955"/>
              <a:gd name="connsiteX3" fmla="*/ 579722 w 11864472"/>
              <a:gd name="connsiteY3" fmla="*/ 6643955 h 6643955"/>
              <a:gd name="connsiteX4" fmla="*/ 0 w 11864472"/>
              <a:gd name="connsiteY4" fmla="*/ 6064233 h 6643955"/>
              <a:gd name="connsiteX5" fmla="*/ 0 w 11864472"/>
              <a:gd name="connsiteY5" fmla="*/ 1319813 h 6643955"/>
              <a:gd name="connsiteX0" fmla="*/ 0 w 11864472"/>
              <a:gd name="connsiteY0" fmla="*/ 13527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13527 h 5337669"/>
              <a:gd name="connsiteX0" fmla="*/ 0 w 11864472"/>
              <a:gd name="connsiteY0" fmla="*/ 1652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1652 h 5337669"/>
              <a:gd name="connsiteX0" fmla="*/ 0 w 11864472"/>
              <a:gd name="connsiteY0" fmla="*/ 2201927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2201927 h 5337669"/>
              <a:gd name="connsiteX0" fmla="*/ 0 w 11864472"/>
              <a:gd name="connsiteY0" fmla="*/ 1652 h 3137394"/>
              <a:gd name="connsiteX1" fmla="*/ 11864472 w 11864472"/>
              <a:gd name="connsiteY1" fmla="*/ 0 h 3137394"/>
              <a:gd name="connsiteX2" fmla="*/ 11855613 w 11864472"/>
              <a:gd name="connsiteY2" fmla="*/ 3135740 h 3137394"/>
              <a:gd name="connsiteX3" fmla="*/ 579722 w 11864472"/>
              <a:gd name="connsiteY3" fmla="*/ 3137394 h 3137394"/>
              <a:gd name="connsiteX4" fmla="*/ 0 w 11864472"/>
              <a:gd name="connsiteY4" fmla="*/ 2557672 h 3137394"/>
              <a:gd name="connsiteX5" fmla="*/ 0 w 11864472"/>
              <a:gd name="connsiteY5" fmla="*/ 1652 h 3137394"/>
              <a:gd name="connsiteX0" fmla="*/ 0 w 11864472"/>
              <a:gd name="connsiteY0" fmla="*/ 0 h 3420555"/>
              <a:gd name="connsiteX1" fmla="*/ 11864472 w 11864472"/>
              <a:gd name="connsiteY1" fmla="*/ 283161 h 3420555"/>
              <a:gd name="connsiteX2" fmla="*/ 11855613 w 11864472"/>
              <a:gd name="connsiteY2" fmla="*/ 3418901 h 3420555"/>
              <a:gd name="connsiteX3" fmla="*/ 579722 w 11864472"/>
              <a:gd name="connsiteY3" fmla="*/ 3420555 h 3420555"/>
              <a:gd name="connsiteX4" fmla="*/ 0 w 11864472"/>
              <a:gd name="connsiteY4" fmla="*/ 2840833 h 3420555"/>
              <a:gd name="connsiteX5" fmla="*/ 0 w 11864472"/>
              <a:gd name="connsiteY5" fmla="*/ 0 h 3420555"/>
              <a:gd name="connsiteX0" fmla="*/ 0 w 11864472"/>
              <a:gd name="connsiteY0" fmla="*/ 1652 h 3422207"/>
              <a:gd name="connsiteX1" fmla="*/ 11864472 w 11864472"/>
              <a:gd name="connsiteY1" fmla="*/ 0 h 3422207"/>
              <a:gd name="connsiteX2" fmla="*/ 11855613 w 11864472"/>
              <a:gd name="connsiteY2" fmla="*/ 3420553 h 3422207"/>
              <a:gd name="connsiteX3" fmla="*/ 579722 w 11864472"/>
              <a:gd name="connsiteY3" fmla="*/ 3422207 h 3422207"/>
              <a:gd name="connsiteX4" fmla="*/ 0 w 11864472"/>
              <a:gd name="connsiteY4" fmla="*/ 2842485 h 3422207"/>
              <a:gd name="connsiteX5" fmla="*/ 0 w 11864472"/>
              <a:gd name="connsiteY5" fmla="*/ 1652 h 3422207"/>
              <a:gd name="connsiteX0" fmla="*/ 0 w 11855613"/>
              <a:gd name="connsiteY0" fmla="*/ 0 h 3420555"/>
              <a:gd name="connsiteX1" fmla="*/ 11834492 w 11855613"/>
              <a:gd name="connsiteY1" fmla="*/ 58309 h 3420555"/>
              <a:gd name="connsiteX2" fmla="*/ 11855613 w 11855613"/>
              <a:gd name="connsiteY2" fmla="*/ 3418901 h 3420555"/>
              <a:gd name="connsiteX3" fmla="*/ 579722 w 11855613"/>
              <a:gd name="connsiteY3" fmla="*/ 3420555 h 3420555"/>
              <a:gd name="connsiteX4" fmla="*/ 0 w 11855613"/>
              <a:gd name="connsiteY4" fmla="*/ 2840833 h 3420555"/>
              <a:gd name="connsiteX5" fmla="*/ 0 w 11855613"/>
              <a:gd name="connsiteY5" fmla="*/ 0 h 3420555"/>
              <a:gd name="connsiteX0" fmla="*/ 0 w 11855613"/>
              <a:gd name="connsiteY0" fmla="*/ 1652 h 3362246"/>
              <a:gd name="connsiteX1" fmla="*/ 11834492 w 11855613"/>
              <a:gd name="connsiteY1" fmla="*/ 0 h 3362246"/>
              <a:gd name="connsiteX2" fmla="*/ 11855613 w 11855613"/>
              <a:gd name="connsiteY2" fmla="*/ 3360592 h 3362246"/>
              <a:gd name="connsiteX3" fmla="*/ 579722 w 11855613"/>
              <a:gd name="connsiteY3" fmla="*/ 3362246 h 3362246"/>
              <a:gd name="connsiteX4" fmla="*/ 0 w 11855613"/>
              <a:gd name="connsiteY4" fmla="*/ 2782524 h 3362246"/>
              <a:gd name="connsiteX5" fmla="*/ 0 w 11855613"/>
              <a:gd name="connsiteY5" fmla="*/ 1652 h 3362246"/>
              <a:gd name="connsiteX0" fmla="*/ 0 w 11864473"/>
              <a:gd name="connsiteY0" fmla="*/ 0 h 3360594"/>
              <a:gd name="connsiteX1" fmla="*/ 11864473 w 11864473"/>
              <a:gd name="connsiteY1" fmla="*/ 13338 h 3360594"/>
              <a:gd name="connsiteX2" fmla="*/ 11855613 w 11864473"/>
              <a:gd name="connsiteY2" fmla="*/ 3358940 h 3360594"/>
              <a:gd name="connsiteX3" fmla="*/ 579722 w 11864473"/>
              <a:gd name="connsiteY3" fmla="*/ 3360594 h 3360594"/>
              <a:gd name="connsiteX4" fmla="*/ 0 w 11864473"/>
              <a:gd name="connsiteY4" fmla="*/ 2780872 h 3360594"/>
              <a:gd name="connsiteX5" fmla="*/ 0 w 11864473"/>
              <a:gd name="connsiteY5" fmla="*/ 0 h 3360594"/>
              <a:gd name="connsiteX0" fmla="*/ 0 w 11864473"/>
              <a:gd name="connsiteY0" fmla="*/ 1652 h 3362246"/>
              <a:gd name="connsiteX1" fmla="*/ 11864473 w 11864473"/>
              <a:gd name="connsiteY1" fmla="*/ 0 h 3362246"/>
              <a:gd name="connsiteX2" fmla="*/ 11855613 w 11864473"/>
              <a:gd name="connsiteY2" fmla="*/ 3360592 h 3362246"/>
              <a:gd name="connsiteX3" fmla="*/ 579722 w 11864473"/>
              <a:gd name="connsiteY3" fmla="*/ 3362246 h 3362246"/>
              <a:gd name="connsiteX4" fmla="*/ 0 w 11864473"/>
              <a:gd name="connsiteY4" fmla="*/ 2782524 h 3362246"/>
              <a:gd name="connsiteX5" fmla="*/ 0 w 11864473"/>
              <a:gd name="connsiteY5" fmla="*/ 1652 h 3362246"/>
              <a:gd name="connsiteX0" fmla="*/ 0 w 11855629"/>
              <a:gd name="connsiteY0" fmla="*/ 1652 h 3362246"/>
              <a:gd name="connsiteX1" fmla="*/ 11459359 w 11855629"/>
              <a:gd name="connsiteY1" fmla="*/ 0 h 3362246"/>
              <a:gd name="connsiteX2" fmla="*/ 11855613 w 11855629"/>
              <a:gd name="connsiteY2" fmla="*/ 3360592 h 3362246"/>
              <a:gd name="connsiteX3" fmla="*/ 579722 w 11855629"/>
              <a:gd name="connsiteY3" fmla="*/ 3362246 h 3362246"/>
              <a:gd name="connsiteX4" fmla="*/ 0 w 11855629"/>
              <a:gd name="connsiteY4" fmla="*/ 2782524 h 3362246"/>
              <a:gd name="connsiteX5" fmla="*/ 0 w 11855629"/>
              <a:gd name="connsiteY5" fmla="*/ 1652 h 3362246"/>
              <a:gd name="connsiteX0" fmla="*/ 0 w 11459359"/>
              <a:gd name="connsiteY0" fmla="*/ 1652 h 3362246"/>
              <a:gd name="connsiteX1" fmla="*/ 11459359 w 11459359"/>
              <a:gd name="connsiteY1" fmla="*/ 0 h 3362246"/>
              <a:gd name="connsiteX2" fmla="*/ 11438924 w 11459359"/>
              <a:gd name="connsiteY2" fmla="*/ 3360592 h 3362246"/>
              <a:gd name="connsiteX3" fmla="*/ 579722 w 11459359"/>
              <a:gd name="connsiteY3" fmla="*/ 3362246 h 3362246"/>
              <a:gd name="connsiteX4" fmla="*/ 0 w 11459359"/>
              <a:gd name="connsiteY4" fmla="*/ 2782524 h 3362246"/>
              <a:gd name="connsiteX5" fmla="*/ 0 w 11459359"/>
              <a:gd name="connsiteY5" fmla="*/ 1652 h 3362246"/>
              <a:gd name="connsiteX0" fmla="*/ 0 w 11459359"/>
              <a:gd name="connsiteY0" fmla="*/ 1652 h 3362246"/>
              <a:gd name="connsiteX1" fmla="*/ 11459359 w 11459359"/>
              <a:gd name="connsiteY1" fmla="*/ 0 h 3362246"/>
              <a:gd name="connsiteX2" fmla="*/ 11438924 w 11459359"/>
              <a:gd name="connsiteY2" fmla="*/ 3360592 h 3362246"/>
              <a:gd name="connsiteX3" fmla="*/ 1584742 w 11459359"/>
              <a:gd name="connsiteY3" fmla="*/ 3362246 h 3362246"/>
              <a:gd name="connsiteX4" fmla="*/ 0 w 11459359"/>
              <a:gd name="connsiteY4" fmla="*/ 2782524 h 3362246"/>
              <a:gd name="connsiteX5" fmla="*/ 0 w 11459359"/>
              <a:gd name="connsiteY5" fmla="*/ 1652 h 3362246"/>
              <a:gd name="connsiteX0" fmla="*/ 0 w 11459359"/>
              <a:gd name="connsiteY0" fmla="*/ 1652 h 3360592"/>
              <a:gd name="connsiteX1" fmla="*/ 11459359 w 11459359"/>
              <a:gd name="connsiteY1" fmla="*/ 0 h 3360592"/>
              <a:gd name="connsiteX2" fmla="*/ 11438924 w 11459359"/>
              <a:gd name="connsiteY2" fmla="*/ 3360592 h 3360592"/>
              <a:gd name="connsiteX3" fmla="*/ 1188396 w 11459359"/>
              <a:gd name="connsiteY3" fmla="*/ 3358591 h 3360592"/>
              <a:gd name="connsiteX4" fmla="*/ 0 w 11459359"/>
              <a:gd name="connsiteY4" fmla="*/ 2782524 h 3360592"/>
              <a:gd name="connsiteX5" fmla="*/ 0 w 11459359"/>
              <a:gd name="connsiteY5" fmla="*/ 1652 h 3360592"/>
              <a:gd name="connsiteX0" fmla="*/ 0 w 11459359"/>
              <a:gd name="connsiteY0" fmla="*/ 1652 h 3360592"/>
              <a:gd name="connsiteX1" fmla="*/ 11459359 w 11459359"/>
              <a:gd name="connsiteY1" fmla="*/ 0 h 3360592"/>
              <a:gd name="connsiteX2" fmla="*/ 11438924 w 11459359"/>
              <a:gd name="connsiteY2" fmla="*/ 3360592 h 3360592"/>
              <a:gd name="connsiteX3" fmla="*/ 1188396 w 11459359"/>
              <a:gd name="connsiteY3" fmla="*/ 3358591 h 3360592"/>
              <a:gd name="connsiteX4" fmla="*/ 0 w 11459359"/>
              <a:gd name="connsiteY4" fmla="*/ 2946995 h 3360592"/>
              <a:gd name="connsiteX5" fmla="*/ 0 w 11459359"/>
              <a:gd name="connsiteY5" fmla="*/ 1652 h 3360592"/>
              <a:gd name="connsiteX0" fmla="*/ 0 w 11459359"/>
              <a:gd name="connsiteY0" fmla="*/ 1652 h 3360592"/>
              <a:gd name="connsiteX1" fmla="*/ 11459359 w 11459359"/>
              <a:gd name="connsiteY1" fmla="*/ 0 h 3360592"/>
              <a:gd name="connsiteX2" fmla="*/ 11438924 w 11459359"/>
              <a:gd name="connsiteY2" fmla="*/ 3360592 h 3360592"/>
              <a:gd name="connsiteX3" fmla="*/ 1188396 w 11459359"/>
              <a:gd name="connsiteY3" fmla="*/ 3358591 h 3360592"/>
              <a:gd name="connsiteX4" fmla="*/ 0 w 11459359"/>
              <a:gd name="connsiteY4" fmla="*/ 2946995 h 3360592"/>
              <a:gd name="connsiteX5" fmla="*/ 0 w 11459359"/>
              <a:gd name="connsiteY5" fmla="*/ 1652 h 3360592"/>
              <a:gd name="connsiteX0" fmla="*/ 0 w 11459359"/>
              <a:gd name="connsiteY0" fmla="*/ 1652 h 3360592"/>
              <a:gd name="connsiteX1" fmla="*/ 11459359 w 11459359"/>
              <a:gd name="connsiteY1" fmla="*/ 0 h 3360592"/>
              <a:gd name="connsiteX2" fmla="*/ 11438924 w 11459359"/>
              <a:gd name="connsiteY2" fmla="*/ 3360592 h 3360592"/>
              <a:gd name="connsiteX3" fmla="*/ 1188396 w 11459359"/>
              <a:gd name="connsiteY3" fmla="*/ 3358591 h 3360592"/>
              <a:gd name="connsiteX4" fmla="*/ 0 w 11459359"/>
              <a:gd name="connsiteY4" fmla="*/ 2946995 h 3360592"/>
              <a:gd name="connsiteX5" fmla="*/ 0 w 11459359"/>
              <a:gd name="connsiteY5" fmla="*/ 1652 h 3360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59359" h="3360592">
                <a:moveTo>
                  <a:pt x="0" y="1652"/>
                </a:moveTo>
                <a:lnTo>
                  <a:pt x="11459359" y="0"/>
                </a:lnTo>
                <a:cubicBezTo>
                  <a:pt x="11456406" y="1115201"/>
                  <a:pt x="11441877" y="2245391"/>
                  <a:pt x="11438924" y="3360592"/>
                </a:cubicBezTo>
                <a:lnTo>
                  <a:pt x="1188396" y="3358591"/>
                </a:lnTo>
                <a:cubicBezTo>
                  <a:pt x="848612" y="3356903"/>
                  <a:pt x="0" y="3267167"/>
                  <a:pt x="0" y="2946995"/>
                </a:cubicBezTo>
                <a:lnTo>
                  <a:pt x="0" y="1652"/>
                </a:lnTo>
                <a:close/>
              </a:path>
            </a:pathLst>
          </a:custGeom>
          <a:noFill/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P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061D9951-DC48-2B96-B19E-90AD3405EEC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96047" y="320310"/>
            <a:ext cx="825739" cy="372288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0413E2C6-1271-22E4-3022-42B831E549E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084899" y="6303556"/>
            <a:ext cx="825739" cy="37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1079760"/>
      </p:ext>
    </p:extLst>
  </p:cSld>
  <p:clrMapOvr>
    <a:masterClrMapping/>
  </p:clrMapOvr>
  <p:transition spd="slow">
    <p:push dir="u"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D&amp;T 1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3363" y="1102386"/>
            <a:ext cx="8677275" cy="4963135"/>
          </a:xfrm>
          <a:prstGeom prst="rect">
            <a:avLst/>
          </a:prstGeom>
        </p:spPr>
        <p:txBody>
          <a:bodyPr tIns="0" rIns="0" bIns="0" numCol="1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a one-column layout. Click to add content</a:t>
            </a:r>
          </a:p>
        </p:txBody>
      </p:sp>
      <p:sp>
        <p:nvSpPr>
          <p:cNvPr id="22" name="タイトル プレースホルダ 1">
            <a:extLst>
              <a:ext uri="{FF2B5EF4-FFF2-40B4-BE49-F238E27FC236}">
                <a16:creationId xmlns:a16="http://schemas.microsoft.com/office/drawing/2014/main" id="{86D2E5B8-9E2B-DB46-A55A-5F26569C4F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7455190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20" name="スライド番号プレースホルダ 5">
            <a:extLst>
              <a:ext uri="{FF2B5EF4-FFF2-40B4-BE49-F238E27FC236}">
                <a16:creationId xmlns:a16="http://schemas.microsoft.com/office/drawing/2014/main" id="{51A4825E-63A1-564F-BC3A-FBC167ECE5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914108"/>
            <a:fld id="{E9B57936-92EF-4126-AE48-1D9D36D15E98}" type="slidenum">
              <a:rPr lang="ja-JP" altLang="en-US" smtClean="0"/>
              <a:pPr defTabSz="914108"/>
              <a:t>‹#›</a:t>
            </a:fld>
            <a:endParaRPr lang="ja-JP" alt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CF9CDB0-5730-E246-B31F-F5963CF8EFDC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44EB3013-FCB4-1B4E-A9F2-FD57CF727CC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DEBA354-D33F-280A-864C-953E643E58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24926" y="277419"/>
            <a:ext cx="844617" cy="394888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CD9EF559-8D7B-75BC-E677-F95BD332CCC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8093234" y="6312851"/>
            <a:ext cx="825739" cy="37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8625075"/>
      </p:ext>
    </p:extLst>
  </p:cSld>
  <p:clrMapOvr>
    <a:masterClrMapping/>
  </p:clrMapOvr>
  <p:transition spd="slow">
    <p:push dir="u"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D&amp;T 2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3363" y="1102386"/>
            <a:ext cx="8677275" cy="4678655"/>
          </a:xfrm>
          <a:prstGeom prst="rect">
            <a:avLst/>
          </a:prstGeom>
        </p:spPr>
        <p:txBody>
          <a:bodyPr tIns="0" rIns="0" bIns="0" numCol="2" spcCol="54000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a two-column layout. Click to add content. </a:t>
            </a:r>
          </a:p>
        </p:txBody>
      </p:sp>
      <p:sp>
        <p:nvSpPr>
          <p:cNvPr id="22" name="タイトル プレースホルダ 1">
            <a:extLst>
              <a:ext uri="{FF2B5EF4-FFF2-40B4-BE49-F238E27FC236}">
                <a16:creationId xmlns:a16="http://schemas.microsoft.com/office/drawing/2014/main" id="{86D2E5B8-9E2B-DB46-A55A-5F26569C4F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7455190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Two-column layout. Click to add title</a:t>
            </a:r>
            <a:endParaRPr kumimoji="1" lang="ja-JP" alt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49634AC-7DDA-D44D-88DB-5850289DD643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0" name="スライド番号プレースホルダ 5">
            <a:extLst>
              <a:ext uri="{FF2B5EF4-FFF2-40B4-BE49-F238E27FC236}">
                <a16:creationId xmlns:a16="http://schemas.microsoft.com/office/drawing/2014/main" id="{E22A984C-7436-8C4C-83C8-F2AD675920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914108"/>
            <a:fld id="{E9B57936-92EF-4126-AE48-1D9D36D15E98}" type="slidenum">
              <a:rPr lang="ja-JP" altLang="en-US" smtClean="0"/>
              <a:pPr defTabSz="914108"/>
              <a:t>‹#›</a:t>
            </a:fld>
            <a:endParaRPr lang="ja-JP" altLang="en-US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0A6720AD-4FA4-A146-AEEB-A4E558BAA3E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C6F74168-F903-3A4B-7DE3-DE6AC0C261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24926" y="277419"/>
            <a:ext cx="844617" cy="394888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A606F171-2C9F-A4E5-BAF2-B76BAEADB79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8093234" y="6293801"/>
            <a:ext cx="825739" cy="37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860823"/>
      </p:ext>
    </p:extLst>
  </p:cSld>
  <p:clrMapOvr>
    <a:masterClrMapping/>
  </p:clrMapOvr>
  <p:transition spd="slow">
    <p:push dir="u"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dvanced 3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925D82-457F-D84D-B8DF-D8ADFD7E71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3362" y="3178298"/>
            <a:ext cx="4281488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35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3362" y="3575905"/>
            <a:ext cx="2822659" cy="2452343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28588" indent="-128588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 sz="1050" b="0">
                <a:solidFill>
                  <a:schemeClr val="tx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ext. 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3BB454FD-9C16-FC47-B46E-6675394572B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60295" y="3575905"/>
            <a:ext cx="2822659" cy="2452343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28588" indent="-128588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 sz="1050" b="0">
                <a:solidFill>
                  <a:schemeClr val="tx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ext. 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568F3A49-7287-1C4D-93C8-50E3C0B4F15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74976" y="3575905"/>
            <a:ext cx="2822659" cy="2452343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28588" indent="-128588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 sz="1050" b="0">
                <a:solidFill>
                  <a:schemeClr val="tx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ext. </a:t>
            </a:r>
          </a:p>
        </p:txBody>
      </p:sp>
      <p:sp>
        <p:nvSpPr>
          <p:cNvPr id="24" name="タイトル プレースホルダ 1">
            <a:extLst>
              <a:ext uri="{FF2B5EF4-FFF2-40B4-BE49-F238E27FC236}">
                <a16:creationId xmlns:a16="http://schemas.microsoft.com/office/drawing/2014/main" id="{CC986DF6-9894-F144-B9DA-A9DBE0000A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7455190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86528CE-2840-6C44-965A-04D8835743E3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7" name="スライド番号プレースホルダ 5">
            <a:extLst>
              <a:ext uri="{FF2B5EF4-FFF2-40B4-BE49-F238E27FC236}">
                <a16:creationId xmlns:a16="http://schemas.microsoft.com/office/drawing/2014/main" id="{854E474F-30B0-604E-9699-287AC57CAA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914108"/>
            <a:fld id="{E9B57936-92EF-4126-AE48-1D9D36D15E98}" type="slidenum">
              <a:rPr lang="ja-JP" altLang="en-US" smtClean="0"/>
              <a:pPr defTabSz="914108"/>
              <a:t>‹#›</a:t>
            </a:fld>
            <a:endParaRPr lang="ja-JP" altLang="en-US"/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C9681050-C142-4F4F-B3C6-6F52F3C55C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110504E2-40F0-054E-8424-D247EF2CA2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3363" y="1491374"/>
            <a:ext cx="8677275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/>
            </a:lvl1pPr>
            <a:lvl2pPr marL="342801" indent="0">
              <a:buNone/>
              <a:defRPr sz="1350" b="1"/>
            </a:lvl2pPr>
            <a:lvl3pPr marL="685612" indent="0">
              <a:buNone/>
              <a:defRPr sz="1350" b="1"/>
            </a:lvl3pPr>
            <a:lvl4pPr marL="1028414" indent="0">
              <a:buNone/>
              <a:defRPr sz="1350" b="1"/>
            </a:lvl4pPr>
            <a:lvl5pPr marL="1371218" indent="0">
              <a:buNone/>
              <a:defRPr sz="135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073E75F2-7FFB-DC4C-8964-799372FCF58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33363" y="1093767"/>
            <a:ext cx="8677275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50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Primary Titl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C21B40B-91F3-0225-3150-8B94A76D4EB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24926" y="277419"/>
            <a:ext cx="844617" cy="394888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16F165AD-6D13-E83C-E358-780D4AD13AA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8093234" y="6293801"/>
            <a:ext cx="825739" cy="37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4316472"/>
      </p:ext>
    </p:extLst>
  </p:cSld>
  <p:clrMapOvr>
    <a:masterClrMapping/>
  </p:clrMapOvr>
  <p:transition spd="slow">
    <p:push dir="u"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dvanced 2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B3311DE3-EC35-4C49-805E-57AB2D90E99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158057" y="1093768"/>
            <a:ext cx="5991267" cy="4910087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33463"/>
              <a:gd name="connsiteX1" fmla="*/ 8912928 w 8915642"/>
              <a:gd name="connsiteY1" fmla="*/ 191388 h 6633463"/>
              <a:gd name="connsiteX2" fmla="*/ 8915642 w 8915642"/>
              <a:gd name="connsiteY2" fmla="*/ 6631809 h 6633463"/>
              <a:gd name="connsiteX3" fmla="*/ 579722 w 8915642"/>
              <a:gd name="connsiteY3" fmla="*/ 6633463 h 6633463"/>
              <a:gd name="connsiteX4" fmla="*/ 0 w 8915642"/>
              <a:gd name="connsiteY4" fmla="*/ 6053741 h 6633463"/>
              <a:gd name="connsiteX5" fmla="*/ 0 w 8915642"/>
              <a:gd name="connsiteY5" fmla="*/ 1 h 6633463"/>
              <a:gd name="connsiteX0" fmla="*/ 0 w 8933278"/>
              <a:gd name="connsiteY0" fmla="*/ 1653 h 6635115"/>
              <a:gd name="connsiteX1" fmla="*/ 8933248 w 8933278"/>
              <a:gd name="connsiteY1" fmla="*/ 0 h 6635115"/>
              <a:gd name="connsiteX2" fmla="*/ 8915642 w 8933278"/>
              <a:gd name="connsiteY2" fmla="*/ 6633461 h 6635115"/>
              <a:gd name="connsiteX3" fmla="*/ 579722 w 8933278"/>
              <a:gd name="connsiteY3" fmla="*/ 6635115 h 6635115"/>
              <a:gd name="connsiteX4" fmla="*/ 0 w 8933278"/>
              <a:gd name="connsiteY4" fmla="*/ 6055393 h 6635115"/>
              <a:gd name="connsiteX5" fmla="*/ 0 w 8933278"/>
              <a:gd name="connsiteY5" fmla="*/ 1653 h 6635115"/>
              <a:gd name="connsiteX0" fmla="*/ 0 w 8933323"/>
              <a:gd name="connsiteY0" fmla="*/ 1653 h 6645336"/>
              <a:gd name="connsiteX1" fmla="*/ 8933248 w 8933323"/>
              <a:gd name="connsiteY1" fmla="*/ 0 h 6645336"/>
              <a:gd name="connsiteX2" fmla="*/ 8927517 w 8933323"/>
              <a:gd name="connsiteY2" fmla="*/ 6645336 h 6645336"/>
              <a:gd name="connsiteX3" fmla="*/ 579722 w 8933323"/>
              <a:gd name="connsiteY3" fmla="*/ 6635115 h 6645336"/>
              <a:gd name="connsiteX4" fmla="*/ 0 w 8933323"/>
              <a:gd name="connsiteY4" fmla="*/ 6055393 h 6645336"/>
              <a:gd name="connsiteX5" fmla="*/ 0 w 8933323"/>
              <a:gd name="connsiteY5" fmla="*/ 1653 h 6645336"/>
              <a:gd name="connsiteX0" fmla="*/ 0 w 8927517"/>
              <a:gd name="connsiteY0" fmla="*/ 1653 h 6645336"/>
              <a:gd name="connsiteX1" fmla="*/ 7971347 w 8927517"/>
              <a:gd name="connsiteY1" fmla="*/ 0 h 6645336"/>
              <a:gd name="connsiteX2" fmla="*/ 8927517 w 8927517"/>
              <a:gd name="connsiteY2" fmla="*/ 6645336 h 6645336"/>
              <a:gd name="connsiteX3" fmla="*/ 579722 w 8927517"/>
              <a:gd name="connsiteY3" fmla="*/ 6635115 h 6645336"/>
              <a:gd name="connsiteX4" fmla="*/ 0 w 8927517"/>
              <a:gd name="connsiteY4" fmla="*/ 6055393 h 6645336"/>
              <a:gd name="connsiteX5" fmla="*/ 0 w 8927517"/>
              <a:gd name="connsiteY5" fmla="*/ 1653 h 6645336"/>
              <a:gd name="connsiteX0" fmla="*/ 0 w 7971422"/>
              <a:gd name="connsiteY0" fmla="*/ 1653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653 h 6645336"/>
              <a:gd name="connsiteX0" fmla="*/ 0 w 7971422"/>
              <a:gd name="connsiteY0" fmla="*/ 1301816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301816 h 6645336"/>
              <a:gd name="connsiteX0" fmla="*/ 0 w 7965616"/>
              <a:gd name="connsiteY0" fmla="*/ 1653 h 5345173"/>
              <a:gd name="connsiteX1" fmla="*/ 7957060 w 7965616"/>
              <a:gd name="connsiteY1" fmla="*/ 0 h 5345173"/>
              <a:gd name="connsiteX2" fmla="*/ 7965616 w 7965616"/>
              <a:gd name="connsiteY2" fmla="*/ 5345173 h 5345173"/>
              <a:gd name="connsiteX3" fmla="*/ 579722 w 7965616"/>
              <a:gd name="connsiteY3" fmla="*/ 5334952 h 5345173"/>
              <a:gd name="connsiteX4" fmla="*/ 0 w 7965616"/>
              <a:gd name="connsiteY4" fmla="*/ 4755230 h 5345173"/>
              <a:gd name="connsiteX5" fmla="*/ 0 w 7965616"/>
              <a:gd name="connsiteY5" fmla="*/ 1653 h 5345173"/>
              <a:gd name="connsiteX0" fmla="*/ 0 w 7971422"/>
              <a:gd name="connsiteY0" fmla="*/ 1653 h 5345173"/>
              <a:gd name="connsiteX1" fmla="*/ 7971347 w 7971422"/>
              <a:gd name="connsiteY1" fmla="*/ 0 h 5345173"/>
              <a:gd name="connsiteX2" fmla="*/ 7965616 w 7971422"/>
              <a:gd name="connsiteY2" fmla="*/ 5345173 h 5345173"/>
              <a:gd name="connsiteX3" fmla="*/ 579722 w 7971422"/>
              <a:gd name="connsiteY3" fmla="*/ 5334952 h 5345173"/>
              <a:gd name="connsiteX4" fmla="*/ 0 w 7971422"/>
              <a:gd name="connsiteY4" fmla="*/ 4755230 h 5345173"/>
              <a:gd name="connsiteX5" fmla="*/ 0 w 7971422"/>
              <a:gd name="connsiteY5" fmla="*/ 1653 h 5345173"/>
              <a:gd name="connsiteX0" fmla="*/ 0 w 7988356"/>
              <a:gd name="connsiteY0" fmla="*/ 187920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187920 h 5345173"/>
              <a:gd name="connsiteX0" fmla="*/ 0 w 7988356"/>
              <a:gd name="connsiteY0" fmla="*/ 210145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210145 h 5345173"/>
              <a:gd name="connsiteX0" fmla="*/ 0 w 7988356"/>
              <a:gd name="connsiteY0" fmla="*/ 0 h 5135028"/>
              <a:gd name="connsiteX1" fmla="*/ 7988281 w 7988356"/>
              <a:gd name="connsiteY1" fmla="*/ 7569 h 5135028"/>
              <a:gd name="connsiteX2" fmla="*/ 7982550 w 7988356"/>
              <a:gd name="connsiteY2" fmla="*/ 5135028 h 5135028"/>
              <a:gd name="connsiteX3" fmla="*/ 596656 w 7988356"/>
              <a:gd name="connsiteY3" fmla="*/ 5124807 h 5135028"/>
              <a:gd name="connsiteX4" fmla="*/ 16934 w 7988356"/>
              <a:gd name="connsiteY4" fmla="*/ 4545085 h 5135028"/>
              <a:gd name="connsiteX5" fmla="*/ 0 w 7988356"/>
              <a:gd name="connsiteY5" fmla="*/ 0 h 5135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88356" h="5135028">
                <a:moveTo>
                  <a:pt x="0" y="0"/>
                </a:moveTo>
                <a:lnTo>
                  <a:pt x="7988281" y="7569"/>
                </a:lnTo>
                <a:cubicBezTo>
                  <a:pt x="7989186" y="2154376"/>
                  <a:pt x="7981645" y="2988221"/>
                  <a:pt x="7982550" y="5135028"/>
                </a:cubicBezTo>
                <a:lnTo>
                  <a:pt x="596656" y="5124807"/>
                </a:lnTo>
                <a:cubicBezTo>
                  <a:pt x="276484" y="5124807"/>
                  <a:pt x="16934" y="4865257"/>
                  <a:pt x="16934" y="4545085"/>
                </a:cubicBezTo>
                <a:cubicBezTo>
                  <a:pt x="11289" y="3022648"/>
                  <a:pt x="5645" y="1522437"/>
                  <a:pt x="0" y="0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JP"/>
              <a:t>Insert Photo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925D82-457F-D84D-B8DF-D8ADFD7E71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3362" y="3178298"/>
            <a:ext cx="2813975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35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3362" y="3575905"/>
            <a:ext cx="2813975" cy="2427950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28588" indent="-128588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 sz="1050" b="0">
                <a:solidFill>
                  <a:schemeClr val="tx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ext. </a:t>
            </a:r>
          </a:p>
        </p:txBody>
      </p:sp>
      <p:sp>
        <p:nvSpPr>
          <p:cNvPr id="22" name="タイトル プレースホルダ 1">
            <a:extLst>
              <a:ext uri="{FF2B5EF4-FFF2-40B4-BE49-F238E27FC236}">
                <a16:creationId xmlns:a16="http://schemas.microsoft.com/office/drawing/2014/main" id="{1545CFCD-ABA6-1349-9917-1DDD2762CB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7455190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7730F84-B57E-C441-B81C-A0677388FA64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5" name="スライド番号プレースホルダ 5">
            <a:extLst>
              <a:ext uri="{FF2B5EF4-FFF2-40B4-BE49-F238E27FC236}">
                <a16:creationId xmlns:a16="http://schemas.microsoft.com/office/drawing/2014/main" id="{78815F79-70B9-A343-88C1-1B41F15106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914108"/>
            <a:fld id="{E9B57936-92EF-4126-AE48-1D9D36D15E98}" type="slidenum">
              <a:rPr lang="ja-JP" altLang="en-US" smtClean="0"/>
              <a:pPr defTabSz="914108"/>
              <a:t>‹#›</a:t>
            </a:fld>
            <a:endParaRPr lang="ja-JP" altLang="en-US"/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6ACFB15D-3880-FB46-8B5A-E057FE4C9B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F3CD883-F623-E54C-A27A-38B7EB95705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3364" y="1491374"/>
            <a:ext cx="2813974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/>
            </a:lvl1pPr>
            <a:lvl2pPr marL="342801" indent="0">
              <a:buNone/>
              <a:defRPr sz="1350" b="1"/>
            </a:lvl2pPr>
            <a:lvl3pPr marL="685612" indent="0">
              <a:buNone/>
              <a:defRPr sz="1350" b="1"/>
            </a:lvl3pPr>
            <a:lvl4pPr marL="1028414" indent="0">
              <a:buNone/>
              <a:defRPr sz="1350" b="1"/>
            </a:lvl4pPr>
            <a:lvl5pPr marL="1371218" indent="0">
              <a:buNone/>
              <a:defRPr sz="135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B2D601E3-CC68-7845-AAF4-3AD141198B4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33363" y="1093767"/>
            <a:ext cx="2813974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50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Primary Titl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3988F13F-524B-D86B-AEBB-19EC8A9E67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24926" y="277419"/>
            <a:ext cx="844617" cy="394888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57383B70-B6C1-693F-5BE0-C6995516A64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8084899" y="6303556"/>
            <a:ext cx="825739" cy="37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368714"/>
      </p:ext>
    </p:extLst>
  </p:cSld>
  <p:clrMapOvr>
    <a:masterClrMapping/>
  </p:clrMapOvr>
  <p:transition spd="slow">
    <p:push dir="u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peaking now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90900D34-4540-274B-A00D-CD50C2D2D53D}"/>
              </a:ext>
            </a:extLst>
          </p:cNvPr>
          <p:cNvSpPr txBox="1"/>
          <p:nvPr/>
        </p:nvSpPr>
        <p:spPr>
          <a:xfrm>
            <a:off x="2924388" y="2263281"/>
            <a:ext cx="5543857" cy="1156194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>
              <a:lnSpc>
                <a:spcPts val="3525"/>
              </a:lnSpc>
            </a:pPr>
            <a:r>
              <a:rPr lang="en-US" sz="2400" b="1" i="1">
                <a:solidFill>
                  <a:srgbClr val="34373F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Now Speaking... </a:t>
            </a:r>
          </a:p>
          <a:p>
            <a:pPr>
              <a:lnSpc>
                <a:spcPts val="3525"/>
              </a:lnSpc>
            </a:pPr>
            <a:endParaRPr lang="en-US" sz="3300" b="1">
              <a:solidFill>
                <a:srgbClr val="34373F"/>
              </a:solidFill>
              <a:latin typeface="Open Sans Semibold" panose="020B0606030504020204" pitchFamily="34" charset="0"/>
              <a:ea typeface="Open Sans Semibold" panose="020B0606030504020204" pitchFamily="34" charset="0"/>
              <a:cs typeface="Open Sans Semibold" panose="020B0606030504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B87F2ED-C73E-C049-BB61-E4BD613B9F04}"/>
              </a:ext>
            </a:extLst>
          </p:cNvPr>
          <p:cNvSpPr txBox="1"/>
          <p:nvPr/>
        </p:nvSpPr>
        <p:spPr>
          <a:xfrm>
            <a:off x="3076794" y="4000748"/>
            <a:ext cx="5543857" cy="80976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ts val="1800"/>
              </a:lnSpc>
            </a:pPr>
            <a:endParaRPr lang="en-GB" sz="1500">
              <a:solidFill>
                <a:srgbClr val="34373F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8A6CE02-54FE-674C-BE59-F8D77E5F34A0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555445" y="2087719"/>
            <a:ext cx="1998000" cy="2663513"/>
          </a:xfrm>
          <a:prstGeom prst="ellipse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200" i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i="1"/>
              <a:t>Click here to add photo</a:t>
            </a:r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B793DBF-CBC6-7644-84DF-88CCE33D5E6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24388" y="2949790"/>
            <a:ext cx="3346847" cy="643720"/>
          </a:xfrm>
        </p:spPr>
        <p:txBody>
          <a:bodyPr>
            <a:normAutofit/>
          </a:bodyPr>
          <a:lstStyle>
            <a:lvl1pPr marL="0" indent="0">
              <a:buNone/>
              <a:defRPr sz="3000" b="1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/>
              <a:t>Name Surname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977C9C7-BCE3-1F47-B084-E1B1998743E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4170" y="3708400"/>
            <a:ext cx="3346847" cy="441325"/>
          </a:xfrm>
        </p:spPr>
        <p:txBody>
          <a:bodyPr/>
          <a:lstStyle>
            <a:lvl1pPr marL="0" indent="0">
              <a:buNone/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Role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3E707A0F-FD50-054E-8931-04676B539E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24170" y="4182340"/>
            <a:ext cx="3346847" cy="441325"/>
          </a:xfrm>
        </p:spPr>
        <p:txBody>
          <a:bodyPr/>
          <a:lstStyle>
            <a:lvl1pPr marL="0" indent="0">
              <a:buNone/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cation</a:t>
            </a:r>
          </a:p>
        </p:txBody>
      </p:sp>
      <p:pic>
        <p:nvPicPr>
          <p:cNvPr id="2" name="Picture 1" descr="Takeda">
            <a:extLst>
              <a:ext uri="{FF2B5EF4-FFF2-40B4-BE49-F238E27FC236}">
                <a16:creationId xmlns:a16="http://schemas.microsoft.com/office/drawing/2014/main" id="{D42A8676-8CCE-D6EF-4BA8-1264866DCA5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1826" y="11928"/>
            <a:ext cx="1272174" cy="94078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13300E2E-49D5-4ED0-AFD3-148FA72CCD4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8093234" y="6293801"/>
            <a:ext cx="825739" cy="37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8498509"/>
      </p:ext>
    </p:extLst>
  </p:cSld>
  <p:clrMapOvr>
    <a:masterClrMapping/>
  </p:clrMapOvr>
  <p:transition spd="slow">
    <p:push dir="u"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dvanced 1/2 Image (Full Ble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925D82-457F-D84D-B8DF-D8ADFD7E71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3362" y="3178298"/>
            <a:ext cx="4281488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35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3362" y="3575904"/>
            <a:ext cx="4281488" cy="2859620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28588" indent="-128588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 sz="1050" b="0">
                <a:solidFill>
                  <a:schemeClr val="tx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ext. </a:t>
            </a:r>
          </a:p>
        </p:txBody>
      </p:sp>
      <p:sp>
        <p:nvSpPr>
          <p:cNvPr id="17" name="タイトル プレースホルダ 1">
            <a:extLst>
              <a:ext uri="{FF2B5EF4-FFF2-40B4-BE49-F238E27FC236}">
                <a16:creationId xmlns:a16="http://schemas.microsoft.com/office/drawing/2014/main" id="{86D6FEA8-06E4-474A-8491-CD1DDAE7D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4060292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EDBCF76-3461-2245-8BB1-FA50AE27F6CA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2" name="スライド番号プレースホルダ 5">
            <a:extLst>
              <a:ext uri="{FF2B5EF4-FFF2-40B4-BE49-F238E27FC236}">
                <a16:creationId xmlns:a16="http://schemas.microsoft.com/office/drawing/2014/main" id="{FB98B4FE-9AC1-D142-89B5-4D3791685B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914108"/>
            <a:fld id="{E9B57936-92EF-4126-AE48-1D9D36D15E98}" type="slidenum">
              <a:rPr lang="ja-JP" altLang="en-US" smtClean="0"/>
              <a:pPr defTabSz="914108"/>
              <a:t>‹#›</a:t>
            </a:fld>
            <a:endParaRPr lang="ja-JP" altLang="en-US"/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7D5A74AA-F0D3-9243-967D-FEA6F7A20BC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8" y="6523002"/>
            <a:ext cx="4060292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D16C870C-B0F9-5A43-81FD-66BD75CC33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3363" y="1491374"/>
            <a:ext cx="4278665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/>
            </a:lvl1pPr>
            <a:lvl2pPr marL="342801" indent="0">
              <a:buNone/>
              <a:defRPr sz="1350" b="1"/>
            </a:lvl2pPr>
            <a:lvl3pPr marL="685612" indent="0">
              <a:buNone/>
              <a:defRPr sz="1350" b="1"/>
            </a:lvl3pPr>
            <a:lvl4pPr marL="1028414" indent="0">
              <a:buNone/>
              <a:defRPr sz="1350" b="1"/>
            </a:lvl4pPr>
            <a:lvl5pPr marL="1371218" indent="0">
              <a:buNone/>
              <a:defRPr sz="135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C64E591A-1A88-9244-AC81-5B42BFE347C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33362" y="1093767"/>
            <a:ext cx="4278665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50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Primary Titl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A852B932-4EC2-7EDE-49FD-84E5DA5F016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084899" y="6303556"/>
            <a:ext cx="825739" cy="372288"/>
          </a:xfrm>
          <a:prstGeom prst="rect">
            <a:avLst/>
          </a:prstGeom>
        </p:spPr>
      </p:pic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DA0F537B-2380-C640-8119-936AD77864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639091" y="-5494"/>
            <a:ext cx="4518288" cy="6863494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33463"/>
              <a:gd name="connsiteX1" fmla="*/ 8912928 w 8915642"/>
              <a:gd name="connsiteY1" fmla="*/ 191388 h 6633463"/>
              <a:gd name="connsiteX2" fmla="*/ 8915642 w 8915642"/>
              <a:gd name="connsiteY2" fmla="*/ 6631809 h 6633463"/>
              <a:gd name="connsiteX3" fmla="*/ 579722 w 8915642"/>
              <a:gd name="connsiteY3" fmla="*/ 6633463 h 6633463"/>
              <a:gd name="connsiteX4" fmla="*/ 0 w 8915642"/>
              <a:gd name="connsiteY4" fmla="*/ 6053741 h 6633463"/>
              <a:gd name="connsiteX5" fmla="*/ 0 w 8915642"/>
              <a:gd name="connsiteY5" fmla="*/ 1 h 6633463"/>
              <a:gd name="connsiteX0" fmla="*/ 0 w 8933278"/>
              <a:gd name="connsiteY0" fmla="*/ 1653 h 6635115"/>
              <a:gd name="connsiteX1" fmla="*/ 8933248 w 8933278"/>
              <a:gd name="connsiteY1" fmla="*/ 0 h 6635115"/>
              <a:gd name="connsiteX2" fmla="*/ 8915642 w 8933278"/>
              <a:gd name="connsiteY2" fmla="*/ 6633461 h 6635115"/>
              <a:gd name="connsiteX3" fmla="*/ 579722 w 8933278"/>
              <a:gd name="connsiteY3" fmla="*/ 6635115 h 6635115"/>
              <a:gd name="connsiteX4" fmla="*/ 0 w 8933278"/>
              <a:gd name="connsiteY4" fmla="*/ 6055393 h 6635115"/>
              <a:gd name="connsiteX5" fmla="*/ 0 w 8933278"/>
              <a:gd name="connsiteY5" fmla="*/ 1653 h 6635115"/>
              <a:gd name="connsiteX0" fmla="*/ 0 w 8933323"/>
              <a:gd name="connsiteY0" fmla="*/ 1653 h 6645336"/>
              <a:gd name="connsiteX1" fmla="*/ 8933248 w 8933323"/>
              <a:gd name="connsiteY1" fmla="*/ 0 h 6645336"/>
              <a:gd name="connsiteX2" fmla="*/ 8927517 w 8933323"/>
              <a:gd name="connsiteY2" fmla="*/ 6645336 h 6645336"/>
              <a:gd name="connsiteX3" fmla="*/ 579722 w 8933323"/>
              <a:gd name="connsiteY3" fmla="*/ 6635115 h 6645336"/>
              <a:gd name="connsiteX4" fmla="*/ 0 w 8933323"/>
              <a:gd name="connsiteY4" fmla="*/ 6055393 h 6645336"/>
              <a:gd name="connsiteX5" fmla="*/ 0 w 8933323"/>
              <a:gd name="connsiteY5" fmla="*/ 1653 h 6645336"/>
              <a:gd name="connsiteX0" fmla="*/ 0 w 8927517"/>
              <a:gd name="connsiteY0" fmla="*/ 1653 h 6645336"/>
              <a:gd name="connsiteX1" fmla="*/ 7971347 w 8927517"/>
              <a:gd name="connsiteY1" fmla="*/ 0 h 6645336"/>
              <a:gd name="connsiteX2" fmla="*/ 8927517 w 8927517"/>
              <a:gd name="connsiteY2" fmla="*/ 6645336 h 6645336"/>
              <a:gd name="connsiteX3" fmla="*/ 579722 w 8927517"/>
              <a:gd name="connsiteY3" fmla="*/ 6635115 h 6645336"/>
              <a:gd name="connsiteX4" fmla="*/ 0 w 8927517"/>
              <a:gd name="connsiteY4" fmla="*/ 6055393 h 6645336"/>
              <a:gd name="connsiteX5" fmla="*/ 0 w 8927517"/>
              <a:gd name="connsiteY5" fmla="*/ 1653 h 6645336"/>
              <a:gd name="connsiteX0" fmla="*/ 0 w 7971422"/>
              <a:gd name="connsiteY0" fmla="*/ 1653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653 h 6645336"/>
              <a:gd name="connsiteX0" fmla="*/ 0 w 7971422"/>
              <a:gd name="connsiteY0" fmla="*/ 1301816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301816 h 6645336"/>
              <a:gd name="connsiteX0" fmla="*/ 0 w 7965616"/>
              <a:gd name="connsiteY0" fmla="*/ 1653 h 5345173"/>
              <a:gd name="connsiteX1" fmla="*/ 7957060 w 7965616"/>
              <a:gd name="connsiteY1" fmla="*/ 0 h 5345173"/>
              <a:gd name="connsiteX2" fmla="*/ 7965616 w 7965616"/>
              <a:gd name="connsiteY2" fmla="*/ 5345173 h 5345173"/>
              <a:gd name="connsiteX3" fmla="*/ 579722 w 7965616"/>
              <a:gd name="connsiteY3" fmla="*/ 5334952 h 5345173"/>
              <a:gd name="connsiteX4" fmla="*/ 0 w 7965616"/>
              <a:gd name="connsiteY4" fmla="*/ 4755230 h 5345173"/>
              <a:gd name="connsiteX5" fmla="*/ 0 w 7965616"/>
              <a:gd name="connsiteY5" fmla="*/ 1653 h 5345173"/>
              <a:gd name="connsiteX0" fmla="*/ 0 w 7971422"/>
              <a:gd name="connsiteY0" fmla="*/ 1653 h 5345173"/>
              <a:gd name="connsiteX1" fmla="*/ 7971347 w 7971422"/>
              <a:gd name="connsiteY1" fmla="*/ 0 h 5345173"/>
              <a:gd name="connsiteX2" fmla="*/ 7965616 w 7971422"/>
              <a:gd name="connsiteY2" fmla="*/ 5345173 h 5345173"/>
              <a:gd name="connsiteX3" fmla="*/ 579722 w 7971422"/>
              <a:gd name="connsiteY3" fmla="*/ 5334952 h 5345173"/>
              <a:gd name="connsiteX4" fmla="*/ 0 w 7971422"/>
              <a:gd name="connsiteY4" fmla="*/ 4755230 h 5345173"/>
              <a:gd name="connsiteX5" fmla="*/ 0 w 7971422"/>
              <a:gd name="connsiteY5" fmla="*/ 1653 h 5345173"/>
              <a:gd name="connsiteX0" fmla="*/ 0 w 7988356"/>
              <a:gd name="connsiteY0" fmla="*/ 187920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187920 h 5345173"/>
              <a:gd name="connsiteX0" fmla="*/ 0 w 7988356"/>
              <a:gd name="connsiteY0" fmla="*/ 210145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210145 h 5345173"/>
              <a:gd name="connsiteX0" fmla="*/ 0 w 7988356"/>
              <a:gd name="connsiteY0" fmla="*/ 0 h 5135028"/>
              <a:gd name="connsiteX1" fmla="*/ 7988281 w 7988356"/>
              <a:gd name="connsiteY1" fmla="*/ 7569 h 5135028"/>
              <a:gd name="connsiteX2" fmla="*/ 7982550 w 7988356"/>
              <a:gd name="connsiteY2" fmla="*/ 5135028 h 5135028"/>
              <a:gd name="connsiteX3" fmla="*/ 596656 w 7988356"/>
              <a:gd name="connsiteY3" fmla="*/ 5124807 h 5135028"/>
              <a:gd name="connsiteX4" fmla="*/ 16934 w 7988356"/>
              <a:gd name="connsiteY4" fmla="*/ 4545085 h 5135028"/>
              <a:gd name="connsiteX5" fmla="*/ 0 w 7988356"/>
              <a:gd name="connsiteY5" fmla="*/ 0 h 5135028"/>
              <a:gd name="connsiteX0" fmla="*/ 0 w 7982550"/>
              <a:gd name="connsiteY0" fmla="*/ 0 h 5135028"/>
              <a:gd name="connsiteX1" fmla="*/ 6028853 w 7982550"/>
              <a:gd name="connsiteY1" fmla="*/ 7569 h 5135028"/>
              <a:gd name="connsiteX2" fmla="*/ 7982550 w 7982550"/>
              <a:gd name="connsiteY2" fmla="*/ 5135028 h 5135028"/>
              <a:gd name="connsiteX3" fmla="*/ 596656 w 7982550"/>
              <a:gd name="connsiteY3" fmla="*/ 5124807 h 5135028"/>
              <a:gd name="connsiteX4" fmla="*/ 16934 w 7982550"/>
              <a:gd name="connsiteY4" fmla="*/ 4545085 h 5135028"/>
              <a:gd name="connsiteX5" fmla="*/ 0 w 7982550"/>
              <a:gd name="connsiteY5" fmla="*/ 0 h 5135028"/>
              <a:gd name="connsiteX0" fmla="*/ 0 w 6037636"/>
              <a:gd name="connsiteY0" fmla="*/ 0 h 5135028"/>
              <a:gd name="connsiteX1" fmla="*/ 6028853 w 6037636"/>
              <a:gd name="connsiteY1" fmla="*/ 7569 h 5135028"/>
              <a:gd name="connsiteX2" fmla="*/ 6037636 w 6037636"/>
              <a:gd name="connsiteY2" fmla="*/ 5135028 h 5135028"/>
              <a:gd name="connsiteX3" fmla="*/ 596656 w 6037636"/>
              <a:gd name="connsiteY3" fmla="*/ 5124807 h 5135028"/>
              <a:gd name="connsiteX4" fmla="*/ 16934 w 6037636"/>
              <a:gd name="connsiteY4" fmla="*/ 4545085 h 5135028"/>
              <a:gd name="connsiteX5" fmla="*/ 0 w 6037636"/>
              <a:gd name="connsiteY5" fmla="*/ 0 h 5135028"/>
              <a:gd name="connsiteX0" fmla="*/ 0 w 6024384"/>
              <a:gd name="connsiteY0" fmla="*/ 0 h 6857810"/>
              <a:gd name="connsiteX1" fmla="*/ 6015601 w 6024384"/>
              <a:gd name="connsiteY1" fmla="*/ 1730351 h 6857810"/>
              <a:gd name="connsiteX2" fmla="*/ 6024384 w 6024384"/>
              <a:gd name="connsiteY2" fmla="*/ 6857810 h 6857810"/>
              <a:gd name="connsiteX3" fmla="*/ 583404 w 6024384"/>
              <a:gd name="connsiteY3" fmla="*/ 6847589 h 6857810"/>
              <a:gd name="connsiteX4" fmla="*/ 3682 w 6024384"/>
              <a:gd name="connsiteY4" fmla="*/ 6267867 h 6857810"/>
              <a:gd name="connsiteX5" fmla="*/ 0 w 6024384"/>
              <a:gd name="connsiteY5" fmla="*/ 0 h 6857810"/>
              <a:gd name="connsiteX0" fmla="*/ 0 w 6024384"/>
              <a:gd name="connsiteY0" fmla="*/ 5684 h 6863494"/>
              <a:gd name="connsiteX1" fmla="*/ 6002349 w 6024384"/>
              <a:gd name="connsiteY1" fmla="*/ 0 h 6863494"/>
              <a:gd name="connsiteX2" fmla="*/ 6024384 w 6024384"/>
              <a:gd name="connsiteY2" fmla="*/ 6863494 h 6863494"/>
              <a:gd name="connsiteX3" fmla="*/ 583404 w 6024384"/>
              <a:gd name="connsiteY3" fmla="*/ 6853273 h 6863494"/>
              <a:gd name="connsiteX4" fmla="*/ 3682 w 6024384"/>
              <a:gd name="connsiteY4" fmla="*/ 6273551 h 6863494"/>
              <a:gd name="connsiteX5" fmla="*/ 0 w 6024384"/>
              <a:gd name="connsiteY5" fmla="*/ 5684 h 6863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24384" h="6863494">
                <a:moveTo>
                  <a:pt x="0" y="5684"/>
                </a:moveTo>
                <a:lnTo>
                  <a:pt x="6002349" y="0"/>
                </a:lnTo>
                <a:cubicBezTo>
                  <a:pt x="6003254" y="2146807"/>
                  <a:pt x="6023479" y="4716687"/>
                  <a:pt x="6024384" y="6863494"/>
                </a:cubicBezTo>
                <a:lnTo>
                  <a:pt x="583404" y="6853273"/>
                </a:lnTo>
                <a:cubicBezTo>
                  <a:pt x="263232" y="6853273"/>
                  <a:pt x="3682" y="6593723"/>
                  <a:pt x="3682" y="6273551"/>
                </a:cubicBezTo>
                <a:cubicBezTo>
                  <a:pt x="-1963" y="4751114"/>
                  <a:pt x="5645" y="1528121"/>
                  <a:pt x="0" y="5684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JP"/>
              <a:t>Insert Photo</a:t>
            </a:r>
          </a:p>
        </p:txBody>
      </p:sp>
    </p:spTree>
    <p:extLst>
      <p:ext uri="{BB962C8B-B14F-4D97-AF65-F5344CB8AC3E}">
        <p14:creationId xmlns:p14="http://schemas.microsoft.com/office/powerpoint/2010/main" val="3066869040"/>
      </p:ext>
    </p:extLst>
  </p:cSld>
  <p:clrMapOvr>
    <a:masterClrMapping/>
  </p:clrMapOvr>
  <p:transition spd="slow">
    <p:push dir="u"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dvanced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925D82-457F-D84D-B8DF-D8ADFD7E71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3362" y="3178298"/>
            <a:ext cx="5745032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35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3362" y="3575905"/>
            <a:ext cx="5747855" cy="2474376"/>
          </a:xfrm>
          <a:prstGeom prst="rect">
            <a:avLst/>
          </a:prstGeom>
        </p:spPr>
        <p:txBody>
          <a:bodyPr tIns="0" rIns="0" bIns="0" numCol="2" spcCol="126000">
            <a:noAutofit/>
          </a:bodyPr>
          <a:lstStyle>
            <a:lvl1pPr marL="128588" indent="-128588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 sz="1050" b="0">
                <a:solidFill>
                  <a:schemeClr val="tx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ext.</a:t>
            </a:r>
          </a:p>
        </p:txBody>
      </p:sp>
      <p:sp>
        <p:nvSpPr>
          <p:cNvPr id="17" name="タイトル プレースホルダ 1">
            <a:extLst>
              <a:ext uri="{FF2B5EF4-FFF2-40B4-BE49-F238E27FC236}">
                <a16:creationId xmlns:a16="http://schemas.microsoft.com/office/drawing/2014/main" id="{CCEDFD04-9A53-9241-851E-1D01DC555A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7455190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65B3EBD-E4F5-8E40-B07A-C04F3B1E7F2C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6" name="スライド番号プレースホルダ 5">
            <a:extLst>
              <a:ext uri="{FF2B5EF4-FFF2-40B4-BE49-F238E27FC236}">
                <a16:creationId xmlns:a16="http://schemas.microsoft.com/office/drawing/2014/main" id="{3D5D14EF-A351-224D-8142-E1BEE44BBC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914108"/>
            <a:fld id="{E9B57936-92EF-4126-AE48-1D9D36D15E98}" type="slidenum">
              <a:rPr lang="ja-JP" altLang="en-US" smtClean="0"/>
              <a:pPr defTabSz="914108"/>
              <a:t>‹#›</a:t>
            </a:fld>
            <a:endParaRPr lang="ja-JP" altLang="en-US"/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4D0A49B6-0BCC-C545-BF97-504B63062F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82FCE78-36AB-904B-98A8-CE3FFB1555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3363" y="1491374"/>
            <a:ext cx="5745031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/>
            </a:lvl1pPr>
            <a:lvl2pPr marL="342801" indent="0">
              <a:buNone/>
              <a:defRPr sz="1350" b="1"/>
            </a:lvl2pPr>
            <a:lvl3pPr marL="685612" indent="0">
              <a:buNone/>
              <a:defRPr sz="1350" b="1"/>
            </a:lvl3pPr>
            <a:lvl4pPr marL="1028414" indent="0">
              <a:buNone/>
              <a:defRPr sz="1350" b="1"/>
            </a:lvl4pPr>
            <a:lvl5pPr marL="1371218" indent="0">
              <a:buNone/>
              <a:defRPr sz="135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2ECF95F-F25E-8248-A0F3-BB1749A1B40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33362" y="1093767"/>
            <a:ext cx="5745031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50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Primary Titl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CB561E33-A943-DE60-D54D-8CF8D1633C7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24926" y="277419"/>
            <a:ext cx="844617" cy="394888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B9D2AE01-F1DE-6100-23F3-DB26F8C6E60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8084899" y="6303556"/>
            <a:ext cx="825739" cy="372288"/>
          </a:xfrm>
          <a:prstGeom prst="rect">
            <a:avLst/>
          </a:prstGeom>
        </p:spPr>
      </p:pic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54C5EE8-C42D-B549-B4D4-C0F00D68A42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102721" y="1093768"/>
            <a:ext cx="3052125" cy="4956513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33463"/>
              <a:gd name="connsiteX1" fmla="*/ 8912928 w 8915642"/>
              <a:gd name="connsiteY1" fmla="*/ 191388 h 6633463"/>
              <a:gd name="connsiteX2" fmla="*/ 8915642 w 8915642"/>
              <a:gd name="connsiteY2" fmla="*/ 6631809 h 6633463"/>
              <a:gd name="connsiteX3" fmla="*/ 579722 w 8915642"/>
              <a:gd name="connsiteY3" fmla="*/ 6633463 h 6633463"/>
              <a:gd name="connsiteX4" fmla="*/ 0 w 8915642"/>
              <a:gd name="connsiteY4" fmla="*/ 6053741 h 6633463"/>
              <a:gd name="connsiteX5" fmla="*/ 0 w 8915642"/>
              <a:gd name="connsiteY5" fmla="*/ 1 h 6633463"/>
              <a:gd name="connsiteX0" fmla="*/ 0 w 8933278"/>
              <a:gd name="connsiteY0" fmla="*/ 1653 h 6635115"/>
              <a:gd name="connsiteX1" fmla="*/ 8933248 w 8933278"/>
              <a:gd name="connsiteY1" fmla="*/ 0 h 6635115"/>
              <a:gd name="connsiteX2" fmla="*/ 8915642 w 8933278"/>
              <a:gd name="connsiteY2" fmla="*/ 6633461 h 6635115"/>
              <a:gd name="connsiteX3" fmla="*/ 579722 w 8933278"/>
              <a:gd name="connsiteY3" fmla="*/ 6635115 h 6635115"/>
              <a:gd name="connsiteX4" fmla="*/ 0 w 8933278"/>
              <a:gd name="connsiteY4" fmla="*/ 6055393 h 6635115"/>
              <a:gd name="connsiteX5" fmla="*/ 0 w 8933278"/>
              <a:gd name="connsiteY5" fmla="*/ 1653 h 6635115"/>
              <a:gd name="connsiteX0" fmla="*/ 0 w 8933323"/>
              <a:gd name="connsiteY0" fmla="*/ 1653 h 6645336"/>
              <a:gd name="connsiteX1" fmla="*/ 8933248 w 8933323"/>
              <a:gd name="connsiteY1" fmla="*/ 0 h 6645336"/>
              <a:gd name="connsiteX2" fmla="*/ 8927517 w 8933323"/>
              <a:gd name="connsiteY2" fmla="*/ 6645336 h 6645336"/>
              <a:gd name="connsiteX3" fmla="*/ 579722 w 8933323"/>
              <a:gd name="connsiteY3" fmla="*/ 6635115 h 6645336"/>
              <a:gd name="connsiteX4" fmla="*/ 0 w 8933323"/>
              <a:gd name="connsiteY4" fmla="*/ 6055393 h 6645336"/>
              <a:gd name="connsiteX5" fmla="*/ 0 w 8933323"/>
              <a:gd name="connsiteY5" fmla="*/ 1653 h 6645336"/>
              <a:gd name="connsiteX0" fmla="*/ 0 w 8927517"/>
              <a:gd name="connsiteY0" fmla="*/ 1653 h 6645336"/>
              <a:gd name="connsiteX1" fmla="*/ 7971347 w 8927517"/>
              <a:gd name="connsiteY1" fmla="*/ 0 h 6645336"/>
              <a:gd name="connsiteX2" fmla="*/ 8927517 w 8927517"/>
              <a:gd name="connsiteY2" fmla="*/ 6645336 h 6645336"/>
              <a:gd name="connsiteX3" fmla="*/ 579722 w 8927517"/>
              <a:gd name="connsiteY3" fmla="*/ 6635115 h 6645336"/>
              <a:gd name="connsiteX4" fmla="*/ 0 w 8927517"/>
              <a:gd name="connsiteY4" fmla="*/ 6055393 h 6645336"/>
              <a:gd name="connsiteX5" fmla="*/ 0 w 8927517"/>
              <a:gd name="connsiteY5" fmla="*/ 1653 h 6645336"/>
              <a:gd name="connsiteX0" fmla="*/ 0 w 7971422"/>
              <a:gd name="connsiteY0" fmla="*/ 1653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653 h 6645336"/>
              <a:gd name="connsiteX0" fmla="*/ 0 w 7971422"/>
              <a:gd name="connsiteY0" fmla="*/ 1301816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301816 h 6645336"/>
              <a:gd name="connsiteX0" fmla="*/ 0 w 7965616"/>
              <a:gd name="connsiteY0" fmla="*/ 1653 h 5345173"/>
              <a:gd name="connsiteX1" fmla="*/ 7957060 w 7965616"/>
              <a:gd name="connsiteY1" fmla="*/ 0 h 5345173"/>
              <a:gd name="connsiteX2" fmla="*/ 7965616 w 7965616"/>
              <a:gd name="connsiteY2" fmla="*/ 5345173 h 5345173"/>
              <a:gd name="connsiteX3" fmla="*/ 579722 w 7965616"/>
              <a:gd name="connsiteY3" fmla="*/ 5334952 h 5345173"/>
              <a:gd name="connsiteX4" fmla="*/ 0 w 7965616"/>
              <a:gd name="connsiteY4" fmla="*/ 4755230 h 5345173"/>
              <a:gd name="connsiteX5" fmla="*/ 0 w 7965616"/>
              <a:gd name="connsiteY5" fmla="*/ 1653 h 5345173"/>
              <a:gd name="connsiteX0" fmla="*/ 0 w 7971422"/>
              <a:gd name="connsiteY0" fmla="*/ 1653 h 5345173"/>
              <a:gd name="connsiteX1" fmla="*/ 7971347 w 7971422"/>
              <a:gd name="connsiteY1" fmla="*/ 0 h 5345173"/>
              <a:gd name="connsiteX2" fmla="*/ 7965616 w 7971422"/>
              <a:gd name="connsiteY2" fmla="*/ 5345173 h 5345173"/>
              <a:gd name="connsiteX3" fmla="*/ 579722 w 7971422"/>
              <a:gd name="connsiteY3" fmla="*/ 5334952 h 5345173"/>
              <a:gd name="connsiteX4" fmla="*/ 0 w 7971422"/>
              <a:gd name="connsiteY4" fmla="*/ 4755230 h 5345173"/>
              <a:gd name="connsiteX5" fmla="*/ 0 w 7971422"/>
              <a:gd name="connsiteY5" fmla="*/ 1653 h 5345173"/>
              <a:gd name="connsiteX0" fmla="*/ 0 w 7988356"/>
              <a:gd name="connsiteY0" fmla="*/ 187920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187920 h 5345173"/>
              <a:gd name="connsiteX0" fmla="*/ 0 w 7988356"/>
              <a:gd name="connsiteY0" fmla="*/ 210145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210145 h 5345173"/>
              <a:gd name="connsiteX0" fmla="*/ 0 w 7988356"/>
              <a:gd name="connsiteY0" fmla="*/ 0 h 5135028"/>
              <a:gd name="connsiteX1" fmla="*/ 7988281 w 7988356"/>
              <a:gd name="connsiteY1" fmla="*/ 7569 h 5135028"/>
              <a:gd name="connsiteX2" fmla="*/ 7982550 w 7988356"/>
              <a:gd name="connsiteY2" fmla="*/ 5135028 h 5135028"/>
              <a:gd name="connsiteX3" fmla="*/ 596656 w 7988356"/>
              <a:gd name="connsiteY3" fmla="*/ 5124807 h 5135028"/>
              <a:gd name="connsiteX4" fmla="*/ 16934 w 7988356"/>
              <a:gd name="connsiteY4" fmla="*/ 4545085 h 5135028"/>
              <a:gd name="connsiteX5" fmla="*/ 0 w 7988356"/>
              <a:gd name="connsiteY5" fmla="*/ 0 h 5135028"/>
              <a:gd name="connsiteX0" fmla="*/ 0 w 7982550"/>
              <a:gd name="connsiteY0" fmla="*/ 0 h 5135028"/>
              <a:gd name="connsiteX1" fmla="*/ 6028853 w 7982550"/>
              <a:gd name="connsiteY1" fmla="*/ 7569 h 5135028"/>
              <a:gd name="connsiteX2" fmla="*/ 7982550 w 7982550"/>
              <a:gd name="connsiteY2" fmla="*/ 5135028 h 5135028"/>
              <a:gd name="connsiteX3" fmla="*/ 596656 w 7982550"/>
              <a:gd name="connsiteY3" fmla="*/ 5124807 h 5135028"/>
              <a:gd name="connsiteX4" fmla="*/ 16934 w 7982550"/>
              <a:gd name="connsiteY4" fmla="*/ 4545085 h 5135028"/>
              <a:gd name="connsiteX5" fmla="*/ 0 w 7982550"/>
              <a:gd name="connsiteY5" fmla="*/ 0 h 5135028"/>
              <a:gd name="connsiteX0" fmla="*/ 0 w 6037636"/>
              <a:gd name="connsiteY0" fmla="*/ 0 h 5135028"/>
              <a:gd name="connsiteX1" fmla="*/ 6028853 w 6037636"/>
              <a:gd name="connsiteY1" fmla="*/ 7569 h 5135028"/>
              <a:gd name="connsiteX2" fmla="*/ 6037636 w 6037636"/>
              <a:gd name="connsiteY2" fmla="*/ 5135028 h 5135028"/>
              <a:gd name="connsiteX3" fmla="*/ 596656 w 6037636"/>
              <a:gd name="connsiteY3" fmla="*/ 5124807 h 5135028"/>
              <a:gd name="connsiteX4" fmla="*/ 16934 w 6037636"/>
              <a:gd name="connsiteY4" fmla="*/ 4545085 h 5135028"/>
              <a:gd name="connsiteX5" fmla="*/ 0 w 6037636"/>
              <a:gd name="connsiteY5" fmla="*/ 0 h 5135028"/>
              <a:gd name="connsiteX0" fmla="*/ 0 w 6028853"/>
              <a:gd name="connsiteY0" fmla="*/ 0 h 5124807"/>
              <a:gd name="connsiteX1" fmla="*/ 6028853 w 6028853"/>
              <a:gd name="connsiteY1" fmla="*/ 7569 h 5124807"/>
              <a:gd name="connsiteX2" fmla="*/ 4063693 w 6028853"/>
              <a:gd name="connsiteY2" fmla="*/ 5105999 h 5124807"/>
              <a:gd name="connsiteX3" fmla="*/ 596656 w 6028853"/>
              <a:gd name="connsiteY3" fmla="*/ 5124807 h 5124807"/>
              <a:gd name="connsiteX4" fmla="*/ 16934 w 6028853"/>
              <a:gd name="connsiteY4" fmla="*/ 4545085 h 5124807"/>
              <a:gd name="connsiteX5" fmla="*/ 0 w 6028853"/>
              <a:gd name="connsiteY5" fmla="*/ 0 h 5124807"/>
              <a:gd name="connsiteX0" fmla="*/ 0 w 4069500"/>
              <a:gd name="connsiteY0" fmla="*/ 0 h 5124807"/>
              <a:gd name="connsiteX1" fmla="*/ 4069425 w 4069500"/>
              <a:gd name="connsiteY1" fmla="*/ 7569 h 5124807"/>
              <a:gd name="connsiteX2" fmla="*/ 4063693 w 4069500"/>
              <a:gd name="connsiteY2" fmla="*/ 5105999 h 5124807"/>
              <a:gd name="connsiteX3" fmla="*/ 596656 w 4069500"/>
              <a:gd name="connsiteY3" fmla="*/ 5124807 h 5124807"/>
              <a:gd name="connsiteX4" fmla="*/ 16934 w 4069500"/>
              <a:gd name="connsiteY4" fmla="*/ 4545085 h 5124807"/>
              <a:gd name="connsiteX5" fmla="*/ 0 w 4069500"/>
              <a:gd name="connsiteY5" fmla="*/ 0 h 5124807"/>
              <a:gd name="connsiteX0" fmla="*/ 0 w 4069500"/>
              <a:gd name="connsiteY0" fmla="*/ 6946 h 5131753"/>
              <a:gd name="connsiteX1" fmla="*/ 4069425 w 4069500"/>
              <a:gd name="connsiteY1" fmla="*/ 0 h 5131753"/>
              <a:gd name="connsiteX2" fmla="*/ 4063693 w 4069500"/>
              <a:gd name="connsiteY2" fmla="*/ 5112945 h 5131753"/>
              <a:gd name="connsiteX3" fmla="*/ 596656 w 4069500"/>
              <a:gd name="connsiteY3" fmla="*/ 5131753 h 5131753"/>
              <a:gd name="connsiteX4" fmla="*/ 16934 w 4069500"/>
              <a:gd name="connsiteY4" fmla="*/ 4552031 h 5131753"/>
              <a:gd name="connsiteX5" fmla="*/ 0 w 4069500"/>
              <a:gd name="connsiteY5" fmla="*/ 6946 h 51317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69500" h="5131753">
                <a:moveTo>
                  <a:pt x="0" y="6946"/>
                </a:moveTo>
                <a:lnTo>
                  <a:pt x="4069425" y="0"/>
                </a:lnTo>
                <a:cubicBezTo>
                  <a:pt x="4070330" y="2146807"/>
                  <a:pt x="4062788" y="2966138"/>
                  <a:pt x="4063693" y="5112945"/>
                </a:cubicBezTo>
                <a:lnTo>
                  <a:pt x="596656" y="5131753"/>
                </a:lnTo>
                <a:cubicBezTo>
                  <a:pt x="276484" y="5131753"/>
                  <a:pt x="16934" y="4872203"/>
                  <a:pt x="16934" y="4552031"/>
                </a:cubicBezTo>
                <a:cubicBezTo>
                  <a:pt x="11289" y="3029594"/>
                  <a:pt x="5645" y="1529383"/>
                  <a:pt x="0" y="6946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JP"/>
              <a:t>Insert Photo</a:t>
            </a:r>
          </a:p>
        </p:txBody>
      </p:sp>
    </p:spTree>
    <p:extLst>
      <p:ext uri="{BB962C8B-B14F-4D97-AF65-F5344CB8AC3E}">
        <p14:creationId xmlns:p14="http://schemas.microsoft.com/office/powerpoint/2010/main" val="3782050269"/>
      </p:ext>
    </p:extLst>
  </p:cSld>
  <p:clrMapOvr>
    <a:masterClrMapping/>
  </p:clrMapOvr>
  <p:transition spd="slow">
    <p:push dir="u"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dvanced 1/3 Image (Full Ble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925D82-457F-D84D-B8DF-D8ADFD7E71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3362" y="3178298"/>
            <a:ext cx="4281488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35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3362" y="3575905"/>
            <a:ext cx="5747855" cy="2859621"/>
          </a:xfrm>
          <a:prstGeom prst="rect">
            <a:avLst/>
          </a:prstGeom>
        </p:spPr>
        <p:txBody>
          <a:bodyPr tIns="0" rIns="0" bIns="0" numCol="2" spcCol="126000">
            <a:noAutofit/>
          </a:bodyPr>
          <a:lstStyle>
            <a:lvl1pPr marL="128588" indent="-128588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 sz="1050" b="0">
                <a:solidFill>
                  <a:schemeClr val="tx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ext.</a:t>
            </a:r>
          </a:p>
        </p:txBody>
      </p:sp>
      <p:sp>
        <p:nvSpPr>
          <p:cNvPr id="17" name="タイトル プレースホルダ 1">
            <a:extLst>
              <a:ext uri="{FF2B5EF4-FFF2-40B4-BE49-F238E27FC236}">
                <a16:creationId xmlns:a16="http://schemas.microsoft.com/office/drawing/2014/main" id="{6FB24DD6-99CB-CE43-A787-C9F60DC95F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5526659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7130E5B-E573-584B-8C83-F8409492B14B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1" name="スライド番号プレースホルダ 5">
            <a:extLst>
              <a:ext uri="{FF2B5EF4-FFF2-40B4-BE49-F238E27FC236}">
                <a16:creationId xmlns:a16="http://schemas.microsoft.com/office/drawing/2014/main" id="{C55CC856-2ADD-F44F-96B6-03734457CC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914108"/>
            <a:fld id="{E9B57936-92EF-4126-AE48-1D9D36D15E98}" type="slidenum">
              <a:rPr lang="ja-JP" altLang="en-US" smtClean="0"/>
              <a:pPr defTabSz="914108"/>
              <a:t>‹#›</a:t>
            </a:fld>
            <a:endParaRPr lang="ja-JP" altLang="en-US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DB94AACD-56D4-F146-AFC0-5CBE6630C5A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3A8AA34-7C7D-A24F-AF24-5158DD2AB0E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3363" y="1491374"/>
            <a:ext cx="5745032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/>
            </a:lvl1pPr>
            <a:lvl2pPr marL="342801" indent="0">
              <a:buNone/>
              <a:defRPr sz="1350" b="1"/>
            </a:lvl2pPr>
            <a:lvl3pPr marL="685612" indent="0">
              <a:buNone/>
              <a:defRPr sz="1350" b="1"/>
            </a:lvl3pPr>
            <a:lvl4pPr marL="1028414" indent="0">
              <a:buNone/>
              <a:defRPr sz="1350" b="1"/>
            </a:lvl4pPr>
            <a:lvl5pPr marL="1371218" indent="0">
              <a:buNone/>
              <a:defRPr sz="135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8F4B55CE-CF3E-7E44-A66A-599621CA5C5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33362" y="1093767"/>
            <a:ext cx="5745032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50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Primary Titl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FC17EBA-AF95-91EB-8376-9339194045F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084899" y="6303556"/>
            <a:ext cx="825739" cy="372288"/>
          </a:xfrm>
          <a:prstGeom prst="rect">
            <a:avLst/>
          </a:prstGeom>
        </p:spPr>
      </p:pic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54C5EE8-C42D-B549-B4D4-C0F00D68A42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86290" y="-2842"/>
            <a:ext cx="3057710" cy="6860842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33463"/>
              <a:gd name="connsiteX1" fmla="*/ 8912928 w 8915642"/>
              <a:gd name="connsiteY1" fmla="*/ 191388 h 6633463"/>
              <a:gd name="connsiteX2" fmla="*/ 8915642 w 8915642"/>
              <a:gd name="connsiteY2" fmla="*/ 6631809 h 6633463"/>
              <a:gd name="connsiteX3" fmla="*/ 579722 w 8915642"/>
              <a:gd name="connsiteY3" fmla="*/ 6633463 h 6633463"/>
              <a:gd name="connsiteX4" fmla="*/ 0 w 8915642"/>
              <a:gd name="connsiteY4" fmla="*/ 6053741 h 6633463"/>
              <a:gd name="connsiteX5" fmla="*/ 0 w 8915642"/>
              <a:gd name="connsiteY5" fmla="*/ 1 h 6633463"/>
              <a:gd name="connsiteX0" fmla="*/ 0 w 8933278"/>
              <a:gd name="connsiteY0" fmla="*/ 1653 h 6635115"/>
              <a:gd name="connsiteX1" fmla="*/ 8933248 w 8933278"/>
              <a:gd name="connsiteY1" fmla="*/ 0 h 6635115"/>
              <a:gd name="connsiteX2" fmla="*/ 8915642 w 8933278"/>
              <a:gd name="connsiteY2" fmla="*/ 6633461 h 6635115"/>
              <a:gd name="connsiteX3" fmla="*/ 579722 w 8933278"/>
              <a:gd name="connsiteY3" fmla="*/ 6635115 h 6635115"/>
              <a:gd name="connsiteX4" fmla="*/ 0 w 8933278"/>
              <a:gd name="connsiteY4" fmla="*/ 6055393 h 6635115"/>
              <a:gd name="connsiteX5" fmla="*/ 0 w 8933278"/>
              <a:gd name="connsiteY5" fmla="*/ 1653 h 6635115"/>
              <a:gd name="connsiteX0" fmla="*/ 0 w 8933323"/>
              <a:gd name="connsiteY0" fmla="*/ 1653 h 6645336"/>
              <a:gd name="connsiteX1" fmla="*/ 8933248 w 8933323"/>
              <a:gd name="connsiteY1" fmla="*/ 0 h 6645336"/>
              <a:gd name="connsiteX2" fmla="*/ 8927517 w 8933323"/>
              <a:gd name="connsiteY2" fmla="*/ 6645336 h 6645336"/>
              <a:gd name="connsiteX3" fmla="*/ 579722 w 8933323"/>
              <a:gd name="connsiteY3" fmla="*/ 6635115 h 6645336"/>
              <a:gd name="connsiteX4" fmla="*/ 0 w 8933323"/>
              <a:gd name="connsiteY4" fmla="*/ 6055393 h 6645336"/>
              <a:gd name="connsiteX5" fmla="*/ 0 w 8933323"/>
              <a:gd name="connsiteY5" fmla="*/ 1653 h 6645336"/>
              <a:gd name="connsiteX0" fmla="*/ 0 w 8927517"/>
              <a:gd name="connsiteY0" fmla="*/ 1653 h 6645336"/>
              <a:gd name="connsiteX1" fmla="*/ 7971347 w 8927517"/>
              <a:gd name="connsiteY1" fmla="*/ 0 h 6645336"/>
              <a:gd name="connsiteX2" fmla="*/ 8927517 w 8927517"/>
              <a:gd name="connsiteY2" fmla="*/ 6645336 h 6645336"/>
              <a:gd name="connsiteX3" fmla="*/ 579722 w 8927517"/>
              <a:gd name="connsiteY3" fmla="*/ 6635115 h 6645336"/>
              <a:gd name="connsiteX4" fmla="*/ 0 w 8927517"/>
              <a:gd name="connsiteY4" fmla="*/ 6055393 h 6645336"/>
              <a:gd name="connsiteX5" fmla="*/ 0 w 8927517"/>
              <a:gd name="connsiteY5" fmla="*/ 1653 h 6645336"/>
              <a:gd name="connsiteX0" fmla="*/ 0 w 7971422"/>
              <a:gd name="connsiteY0" fmla="*/ 1653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653 h 6645336"/>
              <a:gd name="connsiteX0" fmla="*/ 0 w 7971422"/>
              <a:gd name="connsiteY0" fmla="*/ 1301816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301816 h 6645336"/>
              <a:gd name="connsiteX0" fmla="*/ 0 w 7965616"/>
              <a:gd name="connsiteY0" fmla="*/ 1653 h 5345173"/>
              <a:gd name="connsiteX1" fmla="*/ 7957060 w 7965616"/>
              <a:gd name="connsiteY1" fmla="*/ 0 h 5345173"/>
              <a:gd name="connsiteX2" fmla="*/ 7965616 w 7965616"/>
              <a:gd name="connsiteY2" fmla="*/ 5345173 h 5345173"/>
              <a:gd name="connsiteX3" fmla="*/ 579722 w 7965616"/>
              <a:gd name="connsiteY3" fmla="*/ 5334952 h 5345173"/>
              <a:gd name="connsiteX4" fmla="*/ 0 w 7965616"/>
              <a:gd name="connsiteY4" fmla="*/ 4755230 h 5345173"/>
              <a:gd name="connsiteX5" fmla="*/ 0 w 7965616"/>
              <a:gd name="connsiteY5" fmla="*/ 1653 h 5345173"/>
              <a:gd name="connsiteX0" fmla="*/ 0 w 7971422"/>
              <a:gd name="connsiteY0" fmla="*/ 1653 h 5345173"/>
              <a:gd name="connsiteX1" fmla="*/ 7971347 w 7971422"/>
              <a:gd name="connsiteY1" fmla="*/ 0 h 5345173"/>
              <a:gd name="connsiteX2" fmla="*/ 7965616 w 7971422"/>
              <a:gd name="connsiteY2" fmla="*/ 5345173 h 5345173"/>
              <a:gd name="connsiteX3" fmla="*/ 579722 w 7971422"/>
              <a:gd name="connsiteY3" fmla="*/ 5334952 h 5345173"/>
              <a:gd name="connsiteX4" fmla="*/ 0 w 7971422"/>
              <a:gd name="connsiteY4" fmla="*/ 4755230 h 5345173"/>
              <a:gd name="connsiteX5" fmla="*/ 0 w 7971422"/>
              <a:gd name="connsiteY5" fmla="*/ 1653 h 5345173"/>
              <a:gd name="connsiteX0" fmla="*/ 0 w 7988356"/>
              <a:gd name="connsiteY0" fmla="*/ 187920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187920 h 5345173"/>
              <a:gd name="connsiteX0" fmla="*/ 0 w 7988356"/>
              <a:gd name="connsiteY0" fmla="*/ 210145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210145 h 5345173"/>
              <a:gd name="connsiteX0" fmla="*/ 0 w 7988356"/>
              <a:gd name="connsiteY0" fmla="*/ 0 h 5135028"/>
              <a:gd name="connsiteX1" fmla="*/ 7988281 w 7988356"/>
              <a:gd name="connsiteY1" fmla="*/ 7569 h 5135028"/>
              <a:gd name="connsiteX2" fmla="*/ 7982550 w 7988356"/>
              <a:gd name="connsiteY2" fmla="*/ 5135028 h 5135028"/>
              <a:gd name="connsiteX3" fmla="*/ 596656 w 7988356"/>
              <a:gd name="connsiteY3" fmla="*/ 5124807 h 5135028"/>
              <a:gd name="connsiteX4" fmla="*/ 16934 w 7988356"/>
              <a:gd name="connsiteY4" fmla="*/ 4545085 h 5135028"/>
              <a:gd name="connsiteX5" fmla="*/ 0 w 7988356"/>
              <a:gd name="connsiteY5" fmla="*/ 0 h 5135028"/>
              <a:gd name="connsiteX0" fmla="*/ 0 w 7982550"/>
              <a:gd name="connsiteY0" fmla="*/ 0 h 5135028"/>
              <a:gd name="connsiteX1" fmla="*/ 6028853 w 7982550"/>
              <a:gd name="connsiteY1" fmla="*/ 7569 h 5135028"/>
              <a:gd name="connsiteX2" fmla="*/ 7982550 w 7982550"/>
              <a:gd name="connsiteY2" fmla="*/ 5135028 h 5135028"/>
              <a:gd name="connsiteX3" fmla="*/ 596656 w 7982550"/>
              <a:gd name="connsiteY3" fmla="*/ 5124807 h 5135028"/>
              <a:gd name="connsiteX4" fmla="*/ 16934 w 7982550"/>
              <a:gd name="connsiteY4" fmla="*/ 4545085 h 5135028"/>
              <a:gd name="connsiteX5" fmla="*/ 0 w 7982550"/>
              <a:gd name="connsiteY5" fmla="*/ 0 h 5135028"/>
              <a:gd name="connsiteX0" fmla="*/ 0 w 6037636"/>
              <a:gd name="connsiteY0" fmla="*/ 0 h 5135028"/>
              <a:gd name="connsiteX1" fmla="*/ 6028853 w 6037636"/>
              <a:gd name="connsiteY1" fmla="*/ 7569 h 5135028"/>
              <a:gd name="connsiteX2" fmla="*/ 6037636 w 6037636"/>
              <a:gd name="connsiteY2" fmla="*/ 5135028 h 5135028"/>
              <a:gd name="connsiteX3" fmla="*/ 596656 w 6037636"/>
              <a:gd name="connsiteY3" fmla="*/ 5124807 h 5135028"/>
              <a:gd name="connsiteX4" fmla="*/ 16934 w 6037636"/>
              <a:gd name="connsiteY4" fmla="*/ 4545085 h 5135028"/>
              <a:gd name="connsiteX5" fmla="*/ 0 w 6037636"/>
              <a:gd name="connsiteY5" fmla="*/ 0 h 5135028"/>
              <a:gd name="connsiteX0" fmla="*/ 0 w 6028853"/>
              <a:gd name="connsiteY0" fmla="*/ 0 h 5124807"/>
              <a:gd name="connsiteX1" fmla="*/ 6028853 w 6028853"/>
              <a:gd name="connsiteY1" fmla="*/ 7569 h 5124807"/>
              <a:gd name="connsiteX2" fmla="*/ 4063693 w 6028853"/>
              <a:gd name="connsiteY2" fmla="*/ 5105999 h 5124807"/>
              <a:gd name="connsiteX3" fmla="*/ 596656 w 6028853"/>
              <a:gd name="connsiteY3" fmla="*/ 5124807 h 5124807"/>
              <a:gd name="connsiteX4" fmla="*/ 16934 w 6028853"/>
              <a:gd name="connsiteY4" fmla="*/ 4545085 h 5124807"/>
              <a:gd name="connsiteX5" fmla="*/ 0 w 6028853"/>
              <a:gd name="connsiteY5" fmla="*/ 0 h 5124807"/>
              <a:gd name="connsiteX0" fmla="*/ 0 w 4069500"/>
              <a:gd name="connsiteY0" fmla="*/ 0 h 5124807"/>
              <a:gd name="connsiteX1" fmla="*/ 4069425 w 4069500"/>
              <a:gd name="connsiteY1" fmla="*/ 7569 h 5124807"/>
              <a:gd name="connsiteX2" fmla="*/ 4063693 w 4069500"/>
              <a:gd name="connsiteY2" fmla="*/ 5105999 h 5124807"/>
              <a:gd name="connsiteX3" fmla="*/ 596656 w 4069500"/>
              <a:gd name="connsiteY3" fmla="*/ 5124807 h 5124807"/>
              <a:gd name="connsiteX4" fmla="*/ 16934 w 4069500"/>
              <a:gd name="connsiteY4" fmla="*/ 4545085 h 5124807"/>
              <a:gd name="connsiteX5" fmla="*/ 0 w 4069500"/>
              <a:gd name="connsiteY5" fmla="*/ 0 h 5124807"/>
              <a:gd name="connsiteX0" fmla="*/ 0 w 4069500"/>
              <a:gd name="connsiteY0" fmla="*/ 6946 h 5131753"/>
              <a:gd name="connsiteX1" fmla="*/ 4069425 w 4069500"/>
              <a:gd name="connsiteY1" fmla="*/ 0 h 5131753"/>
              <a:gd name="connsiteX2" fmla="*/ 4063693 w 4069500"/>
              <a:gd name="connsiteY2" fmla="*/ 5112945 h 5131753"/>
              <a:gd name="connsiteX3" fmla="*/ 596656 w 4069500"/>
              <a:gd name="connsiteY3" fmla="*/ 5131753 h 5131753"/>
              <a:gd name="connsiteX4" fmla="*/ 16934 w 4069500"/>
              <a:gd name="connsiteY4" fmla="*/ 4552031 h 5131753"/>
              <a:gd name="connsiteX5" fmla="*/ 0 w 4069500"/>
              <a:gd name="connsiteY5" fmla="*/ 6946 h 5131753"/>
              <a:gd name="connsiteX0" fmla="*/ 0 w 4082753"/>
              <a:gd name="connsiteY0" fmla="*/ 2 h 6874096"/>
              <a:gd name="connsiteX1" fmla="*/ 4082678 w 4082753"/>
              <a:gd name="connsiteY1" fmla="*/ 1742343 h 6874096"/>
              <a:gd name="connsiteX2" fmla="*/ 4076946 w 4082753"/>
              <a:gd name="connsiteY2" fmla="*/ 6855288 h 6874096"/>
              <a:gd name="connsiteX3" fmla="*/ 609909 w 4082753"/>
              <a:gd name="connsiteY3" fmla="*/ 6874096 h 6874096"/>
              <a:gd name="connsiteX4" fmla="*/ 30187 w 4082753"/>
              <a:gd name="connsiteY4" fmla="*/ 6294374 h 6874096"/>
              <a:gd name="connsiteX5" fmla="*/ 0 w 4082753"/>
              <a:gd name="connsiteY5" fmla="*/ 2 h 6874096"/>
              <a:gd name="connsiteX0" fmla="*/ 0 w 4095958"/>
              <a:gd name="connsiteY0" fmla="*/ 6946 h 6881040"/>
              <a:gd name="connsiteX1" fmla="*/ 4095930 w 4095958"/>
              <a:gd name="connsiteY1" fmla="*/ 0 h 6881040"/>
              <a:gd name="connsiteX2" fmla="*/ 4076946 w 4095958"/>
              <a:gd name="connsiteY2" fmla="*/ 6862232 h 6881040"/>
              <a:gd name="connsiteX3" fmla="*/ 609909 w 4095958"/>
              <a:gd name="connsiteY3" fmla="*/ 6881040 h 6881040"/>
              <a:gd name="connsiteX4" fmla="*/ 30187 w 4095958"/>
              <a:gd name="connsiteY4" fmla="*/ 6301318 h 6881040"/>
              <a:gd name="connsiteX5" fmla="*/ 0 w 4095958"/>
              <a:gd name="connsiteY5" fmla="*/ 6946 h 6881040"/>
              <a:gd name="connsiteX0" fmla="*/ 0 w 4076946"/>
              <a:gd name="connsiteY0" fmla="*/ 0 h 6874094"/>
              <a:gd name="connsiteX1" fmla="*/ 3870643 w 4076946"/>
              <a:gd name="connsiteY1" fmla="*/ 191837 h 6874094"/>
              <a:gd name="connsiteX2" fmla="*/ 4076946 w 4076946"/>
              <a:gd name="connsiteY2" fmla="*/ 6855286 h 6874094"/>
              <a:gd name="connsiteX3" fmla="*/ 609909 w 4076946"/>
              <a:gd name="connsiteY3" fmla="*/ 6874094 h 6874094"/>
              <a:gd name="connsiteX4" fmla="*/ 30187 w 4076946"/>
              <a:gd name="connsiteY4" fmla="*/ 6294372 h 6874094"/>
              <a:gd name="connsiteX5" fmla="*/ 0 w 4076946"/>
              <a:gd name="connsiteY5" fmla="*/ 0 h 6874094"/>
              <a:gd name="connsiteX0" fmla="*/ 0 w 4076946"/>
              <a:gd name="connsiteY0" fmla="*/ 0 h 6874094"/>
              <a:gd name="connsiteX1" fmla="*/ 4069426 w 4076946"/>
              <a:gd name="connsiteY1" fmla="*/ 19559 h 6874094"/>
              <a:gd name="connsiteX2" fmla="*/ 4076946 w 4076946"/>
              <a:gd name="connsiteY2" fmla="*/ 6855286 h 6874094"/>
              <a:gd name="connsiteX3" fmla="*/ 609909 w 4076946"/>
              <a:gd name="connsiteY3" fmla="*/ 6874094 h 6874094"/>
              <a:gd name="connsiteX4" fmla="*/ 30187 w 4076946"/>
              <a:gd name="connsiteY4" fmla="*/ 6294372 h 6874094"/>
              <a:gd name="connsiteX5" fmla="*/ 0 w 4076946"/>
              <a:gd name="connsiteY5" fmla="*/ 0 h 6874094"/>
              <a:gd name="connsiteX0" fmla="*/ 0 w 4076946"/>
              <a:gd name="connsiteY0" fmla="*/ 99710 h 6854535"/>
              <a:gd name="connsiteX1" fmla="*/ 4069426 w 4076946"/>
              <a:gd name="connsiteY1" fmla="*/ 0 h 6854535"/>
              <a:gd name="connsiteX2" fmla="*/ 4076946 w 4076946"/>
              <a:gd name="connsiteY2" fmla="*/ 6835727 h 6854535"/>
              <a:gd name="connsiteX3" fmla="*/ 609909 w 4076946"/>
              <a:gd name="connsiteY3" fmla="*/ 6854535 h 6854535"/>
              <a:gd name="connsiteX4" fmla="*/ 30187 w 4076946"/>
              <a:gd name="connsiteY4" fmla="*/ 6274813 h 6854535"/>
              <a:gd name="connsiteX5" fmla="*/ 0 w 4076946"/>
              <a:gd name="connsiteY5" fmla="*/ 99710 h 6854535"/>
              <a:gd name="connsiteX0" fmla="*/ 0 w 4076946"/>
              <a:gd name="connsiteY0" fmla="*/ 0 h 6860842"/>
              <a:gd name="connsiteX1" fmla="*/ 4069426 w 4076946"/>
              <a:gd name="connsiteY1" fmla="*/ 6307 h 6860842"/>
              <a:gd name="connsiteX2" fmla="*/ 4076946 w 4076946"/>
              <a:gd name="connsiteY2" fmla="*/ 6842034 h 6860842"/>
              <a:gd name="connsiteX3" fmla="*/ 609909 w 4076946"/>
              <a:gd name="connsiteY3" fmla="*/ 6860842 h 6860842"/>
              <a:gd name="connsiteX4" fmla="*/ 30187 w 4076946"/>
              <a:gd name="connsiteY4" fmla="*/ 6281120 h 6860842"/>
              <a:gd name="connsiteX5" fmla="*/ 0 w 4076946"/>
              <a:gd name="connsiteY5" fmla="*/ 0 h 6860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76946" h="6860842">
                <a:moveTo>
                  <a:pt x="0" y="0"/>
                </a:moveTo>
                <a:lnTo>
                  <a:pt x="4069426" y="6307"/>
                </a:lnTo>
                <a:cubicBezTo>
                  <a:pt x="4070331" y="2153114"/>
                  <a:pt x="4076041" y="4695227"/>
                  <a:pt x="4076946" y="6842034"/>
                </a:cubicBezTo>
                <a:lnTo>
                  <a:pt x="609909" y="6860842"/>
                </a:lnTo>
                <a:cubicBezTo>
                  <a:pt x="289737" y="6860842"/>
                  <a:pt x="30187" y="6601292"/>
                  <a:pt x="30187" y="6281120"/>
                </a:cubicBezTo>
                <a:cubicBezTo>
                  <a:pt x="24542" y="4758683"/>
                  <a:pt x="5645" y="1522437"/>
                  <a:pt x="0" y="0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JP"/>
              <a:t>Insert Photo</a:t>
            </a:r>
          </a:p>
        </p:txBody>
      </p:sp>
    </p:spTree>
    <p:extLst>
      <p:ext uri="{BB962C8B-B14F-4D97-AF65-F5344CB8AC3E}">
        <p14:creationId xmlns:p14="http://schemas.microsoft.com/office/powerpoint/2010/main" val="1449011787"/>
      </p:ext>
    </p:extLst>
  </p:cSld>
  <p:clrMapOvr>
    <a:masterClrMapping/>
  </p:clrMapOvr>
  <p:transition spd="slow">
    <p:push dir="u"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dvanced Image 4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21DF8897-54F9-C24F-8261-0C5418827A6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833053" y="3076287"/>
            <a:ext cx="2079031" cy="2913034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18553"/>
              <a:gd name="connsiteX1" fmla="*/ 8912928 w 8915642"/>
              <a:gd name="connsiteY1" fmla="*/ 176478 h 6618553"/>
              <a:gd name="connsiteX2" fmla="*/ 8915642 w 8915642"/>
              <a:gd name="connsiteY2" fmla="*/ 6616899 h 6618553"/>
              <a:gd name="connsiteX3" fmla="*/ 579722 w 8915642"/>
              <a:gd name="connsiteY3" fmla="*/ 6618553 h 6618553"/>
              <a:gd name="connsiteX4" fmla="*/ 0 w 8915642"/>
              <a:gd name="connsiteY4" fmla="*/ 6038831 h 6618553"/>
              <a:gd name="connsiteX5" fmla="*/ 0 w 8915642"/>
              <a:gd name="connsiteY5" fmla="*/ 1 h 6618553"/>
              <a:gd name="connsiteX0" fmla="*/ 0 w 8915642"/>
              <a:gd name="connsiteY0" fmla="*/ 25404 h 6643956"/>
              <a:gd name="connsiteX1" fmla="*/ 6015348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25404 h 6643956"/>
              <a:gd name="connsiteX0" fmla="*/ 0 w 8915642"/>
              <a:gd name="connsiteY0" fmla="*/ 1653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1653 h 6620205"/>
              <a:gd name="connsiteX0" fmla="*/ 0 w 8915642"/>
              <a:gd name="connsiteY0" fmla="*/ 96656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96656 h 6620205"/>
              <a:gd name="connsiteX0" fmla="*/ 0 w 8915642"/>
              <a:gd name="connsiteY0" fmla="*/ 0 h 6642302"/>
              <a:gd name="connsiteX1" fmla="*/ 6003473 w 8915642"/>
              <a:gd name="connsiteY1" fmla="*/ 22097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0 h 6642302"/>
              <a:gd name="connsiteX1" fmla="*/ 5932221 w 8915642"/>
              <a:gd name="connsiteY1" fmla="*/ 152725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1654 h 6643956"/>
              <a:gd name="connsiteX1" fmla="*/ 6003473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1654 h 6643956"/>
              <a:gd name="connsiteX0" fmla="*/ 0 w 6018062"/>
              <a:gd name="connsiteY0" fmla="*/ 1654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1654 h 6654178"/>
              <a:gd name="connsiteX0" fmla="*/ 0 w 6018062"/>
              <a:gd name="connsiteY0" fmla="*/ 203535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203535 h 6654178"/>
              <a:gd name="connsiteX0" fmla="*/ 0 w 6018062"/>
              <a:gd name="connsiteY0" fmla="*/ 1655 h 6452298"/>
              <a:gd name="connsiteX1" fmla="*/ 4055920 w 6018062"/>
              <a:gd name="connsiteY1" fmla="*/ 0 h 6452298"/>
              <a:gd name="connsiteX2" fmla="*/ 6018062 w 6018062"/>
              <a:gd name="connsiteY2" fmla="*/ 6452298 h 6452298"/>
              <a:gd name="connsiteX3" fmla="*/ 579722 w 6018062"/>
              <a:gd name="connsiteY3" fmla="*/ 6442076 h 6452298"/>
              <a:gd name="connsiteX4" fmla="*/ 0 w 6018062"/>
              <a:gd name="connsiteY4" fmla="*/ 5862354 h 6452298"/>
              <a:gd name="connsiteX5" fmla="*/ 0 w 6018062"/>
              <a:gd name="connsiteY5" fmla="*/ 1655 h 6452298"/>
              <a:gd name="connsiteX0" fmla="*/ 0 w 4055973"/>
              <a:gd name="connsiteY0" fmla="*/ 1655 h 6452298"/>
              <a:gd name="connsiteX1" fmla="*/ 4055920 w 4055973"/>
              <a:gd name="connsiteY1" fmla="*/ 0 h 6452298"/>
              <a:gd name="connsiteX2" fmla="*/ 4046758 w 4055973"/>
              <a:gd name="connsiteY2" fmla="*/ 6452298 h 6452298"/>
              <a:gd name="connsiteX3" fmla="*/ 579722 w 4055973"/>
              <a:gd name="connsiteY3" fmla="*/ 6442076 h 6452298"/>
              <a:gd name="connsiteX4" fmla="*/ 0 w 4055973"/>
              <a:gd name="connsiteY4" fmla="*/ 5862354 h 6452298"/>
              <a:gd name="connsiteX5" fmla="*/ 0 w 4055973"/>
              <a:gd name="connsiteY5" fmla="*/ 1655 h 6452298"/>
              <a:gd name="connsiteX0" fmla="*/ 0 w 4055973"/>
              <a:gd name="connsiteY0" fmla="*/ 0 h 6652523"/>
              <a:gd name="connsiteX1" fmla="*/ 4055920 w 4055973"/>
              <a:gd name="connsiteY1" fmla="*/ 200225 h 6652523"/>
              <a:gd name="connsiteX2" fmla="*/ 4046758 w 4055973"/>
              <a:gd name="connsiteY2" fmla="*/ 6652523 h 6652523"/>
              <a:gd name="connsiteX3" fmla="*/ 579722 w 4055973"/>
              <a:gd name="connsiteY3" fmla="*/ 6642301 h 6652523"/>
              <a:gd name="connsiteX4" fmla="*/ 0 w 4055973"/>
              <a:gd name="connsiteY4" fmla="*/ 6062579 h 6652523"/>
              <a:gd name="connsiteX5" fmla="*/ 0 w 4055973"/>
              <a:gd name="connsiteY5" fmla="*/ 0 h 6652523"/>
              <a:gd name="connsiteX0" fmla="*/ 0 w 4046758"/>
              <a:gd name="connsiteY0" fmla="*/ 0 h 6652523"/>
              <a:gd name="connsiteX1" fmla="*/ 4044045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1655 h 6654178"/>
              <a:gd name="connsiteX1" fmla="*/ 3082144 w 4046758"/>
              <a:gd name="connsiteY1" fmla="*/ 0 h 6654178"/>
              <a:gd name="connsiteX2" fmla="*/ 4046758 w 4046758"/>
              <a:gd name="connsiteY2" fmla="*/ 6654178 h 6654178"/>
              <a:gd name="connsiteX3" fmla="*/ 579722 w 4046758"/>
              <a:gd name="connsiteY3" fmla="*/ 6643956 h 6654178"/>
              <a:gd name="connsiteX4" fmla="*/ 0 w 4046758"/>
              <a:gd name="connsiteY4" fmla="*/ 6064234 h 6654178"/>
              <a:gd name="connsiteX5" fmla="*/ 0 w 4046758"/>
              <a:gd name="connsiteY5" fmla="*/ 1655 h 6654178"/>
              <a:gd name="connsiteX0" fmla="*/ 0 w 4046758"/>
              <a:gd name="connsiteY0" fmla="*/ 0 h 6652523"/>
              <a:gd name="connsiteX1" fmla="*/ 2975266 w 4046758"/>
              <a:gd name="connsiteY1" fmla="*/ 93348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70268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82144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3082197"/>
              <a:gd name="connsiteY0" fmla="*/ 0 h 6652523"/>
              <a:gd name="connsiteX1" fmla="*/ 3082144 w 3082197"/>
              <a:gd name="connsiteY1" fmla="*/ 10220 h 6652523"/>
              <a:gd name="connsiteX2" fmla="*/ 3072982 w 3082197"/>
              <a:gd name="connsiteY2" fmla="*/ 6652523 h 6652523"/>
              <a:gd name="connsiteX3" fmla="*/ 579722 w 3082197"/>
              <a:gd name="connsiteY3" fmla="*/ 6642301 h 6652523"/>
              <a:gd name="connsiteX4" fmla="*/ 0 w 3082197"/>
              <a:gd name="connsiteY4" fmla="*/ 6062579 h 6652523"/>
              <a:gd name="connsiteX5" fmla="*/ 0 w 3082197"/>
              <a:gd name="connsiteY5" fmla="*/ 0 h 6652523"/>
              <a:gd name="connsiteX0" fmla="*/ 0 w 3072982"/>
              <a:gd name="connsiteY0" fmla="*/ 0 h 6652523"/>
              <a:gd name="connsiteX1" fmla="*/ 3010892 w 3072982"/>
              <a:gd name="connsiteY1" fmla="*/ 164599 h 6652523"/>
              <a:gd name="connsiteX2" fmla="*/ 3072982 w 3072982"/>
              <a:gd name="connsiteY2" fmla="*/ 6652523 h 6652523"/>
              <a:gd name="connsiteX3" fmla="*/ 579722 w 3072982"/>
              <a:gd name="connsiteY3" fmla="*/ 6642301 h 6652523"/>
              <a:gd name="connsiteX4" fmla="*/ 0 w 3072982"/>
              <a:gd name="connsiteY4" fmla="*/ 6062579 h 6652523"/>
              <a:gd name="connsiteX5" fmla="*/ 0 w 3072982"/>
              <a:gd name="connsiteY5" fmla="*/ 0 h 6652523"/>
              <a:gd name="connsiteX0" fmla="*/ 0 w 3082197"/>
              <a:gd name="connsiteY0" fmla="*/ 1656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656 h 6654179"/>
              <a:gd name="connsiteX0" fmla="*/ 0 w 3082197"/>
              <a:gd name="connsiteY0" fmla="*/ 1316107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316107 h 6654179"/>
              <a:gd name="connsiteX0" fmla="*/ 0 w 3082197"/>
              <a:gd name="connsiteY0" fmla="*/ 1657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1657 h 5339729"/>
              <a:gd name="connsiteX0" fmla="*/ 0 w 3082197"/>
              <a:gd name="connsiteY0" fmla="*/ 2202416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2202416 h 5339729"/>
              <a:gd name="connsiteX0" fmla="*/ 0 w 3082197"/>
              <a:gd name="connsiteY0" fmla="*/ 1656 h 3138969"/>
              <a:gd name="connsiteX1" fmla="*/ 3082144 w 3082197"/>
              <a:gd name="connsiteY1" fmla="*/ 0 h 3138969"/>
              <a:gd name="connsiteX2" fmla="*/ 3072982 w 3082197"/>
              <a:gd name="connsiteY2" fmla="*/ 3138969 h 3138969"/>
              <a:gd name="connsiteX3" fmla="*/ 579722 w 3082197"/>
              <a:gd name="connsiteY3" fmla="*/ 3128747 h 3138969"/>
              <a:gd name="connsiteX4" fmla="*/ 0 w 3082197"/>
              <a:gd name="connsiteY4" fmla="*/ 2549025 h 3138969"/>
              <a:gd name="connsiteX5" fmla="*/ 0 w 3082197"/>
              <a:gd name="connsiteY5" fmla="*/ 1656 h 3138969"/>
              <a:gd name="connsiteX0" fmla="*/ 0 w 3082145"/>
              <a:gd name="connsiteY0" fmla="*/ 1656 h 3150544"/>
              <a:gd name="connsiteX1" fmla="*/ 3082144 w 3082145"/>
              <a:gd name="connsiteY1" fmla="*/ 0 h 3150544"/>
              <a:gd name="connsiteX2" fmla="*/ 2772041 w 3082145"/>
              <a:gd name="connsiteY2" fmla="*/ 3150544 h 3150544"/>
              <a:gd name="connsiteX3" fmla="*/ 579722 w 3082145"/>
              <a:gd name="connsiteY3" fmla="*/ 3128747 h 3150544"/>
              <a:gd name="connsiteX4" fmla="*/ 0 w 3082145"/>
              <a:gd name="connsiteY4" fmla="*/ 2549025 h 3150544"/>
              <a:gd name="connsiteX5" fmla="*/ 0 w 3082145"/>
              <a:gd name="connsiteY5" fmla="*/ 1656 h 3150544"/>
              <a:gd name="connsiteX0" fmla="*/ 0 w 2772041"/>
              <a:gd name="connsiteY0" fmla="*/ 1656 h 3150544"/>
              <a:gd name="connsiteX1" fmla="*/ 2769627 w 2772041"/>
              <a:gd name="connsiteY1" fmla="*/ 0 h 3150544"/>
              <a:gd name="connsiteX2" fmla="*/ 2772041 w 2772041"/>
              <a:gd name="connsiteY2" fmla="*/ 3150544 h 3150544"/>
              <a:gd name="connsiteX3" fmla="*/ 579722 w 2772041"/>
              <a:gd name="connsiteY3" fmla="*/ 3128747 h 3150544"/>
              <a:gd name="connsiteX4" fmla="*/ 0 w 2772041"/>
              <a:gd name="connsiteY4" fmla="*/ 2549025 h 3150544"/>
              <a:gd name="connsiteX5" fmla="*/ 0 w 2772041"/>
              <a:gd name="connsiteY5" fmla="*/ 1656 h 3150544"/>
              <a:gd name="connsiteX0" fmla="*/ 0 w 2772041"/>
              <a:gd name="connsiteY0" fmla="*/ 1656 h 3138969"/>
              <a:gd name="connsiteX1" fmla="*/ 2769627 w 2772041"/>
              <a:gd name="connsiteY1" fmla="*/ 0 h 3138969"/>
              <a:gd name="connsiteX2" fmla="*/ 2772041 w 2772041"/>
              <a:gd name="connsiteY2" fmla="*/ 3138969 h 3138969"/>
              <a:gd name="connsiteX3" fmla="*/ 579722 w 2772041"/>
              <a:gd name="connsiteY3" fmla="*/ 3128747 h 3138969"/>
              <a:gd name="connsiteX4" fmla="*/ 0 w 2772041"/>
              <a:gd name="connsiteY4" fmla="*/ 2549025 h 3138969"/>
              <a:gd name="connsiteX5" fmla="*/ 0 w 2772041"/>
              <a:gd name="connsiteY5" fmla="*/ 1656 h 313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72041" h="3138969">
                <a:moveTo>
                  <a:pt x="0" y="1656"/>
                </a:moveTo>
                <a:lnTo>
                  <a:pt x="2769627" y="0"/>
                </a:lnTo>
                <a:cubicBezTo>
                  <a:pt x="2770532" y="2146807"/>
                  <a:pt x="2771136" y="992162"/>
                  <a:pt x="2772041" y="3138969"/>
                </a:cubicBezTo>
                <a:lnTo>
                  <a:pt x="579722" y="3128747"/>
                </a:lnTo>
                <a:cubicBezTo>
                  <a:pt x="259550" y="3128747"/>
                  <a:pt x="0" y="2869197"/>
                  <a:pt x="0" y="2549025"/>
                </a:cubicBezTo>
                <a:lnTo>
                  <a:pt x="0" y="1656"/>
                </a:ln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marR="0" indent="0" algn="l" defTabSz="68561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 sz="1050">
                <a:solidFill>
                  <a:schemeClr val="tx1"/>
                </a:solidFill>
              </a:defRPr>
            </a:lvl1pPr>
          </a:lstStyle>
          <a:p>
            <a:pPr marL="0" marR="0" lvl="0" indent="0" algn="l" defTabSz="68561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JP"/>
              <a:t>Insert Picture/Text Block</a:t>
            </a:r>
          </a:p>
          <a:p>
            <a:endParaRPr lang="en-JP"/>
          </a:p>
        </p:txBody>
      </p:sp>
      <p:sp>
        <p:nvSpPr>
          <p:cNvPr id="23" name="Picture Placeholder 9">
            <a:extLst>
              <a:ext uri="{FF2B5EF4-FFF2-40B4-BE49-F238E27FC236}">
                <a16:creationId xmlns:a16="http://schemas.microsoft.com/office/drawing/2014/main" id="{8D6B3691-FCAC-8A46-AA30-DEB2A719C7B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31029" y="3076287"/>
            <a:ext cx="2079031" cy="2913034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18553"/>
              <a:gd name="connsiteX1" fmla="*/ 8912928 w 8915642"/>
              <a:gd name="connsiteY1" fmla="*/ 176478 h 6618553"/>
              <a:gd name="connsiteX2" fmla="*/ 8915642 w 8915642"/>
              <a:gd name="connsiteY2" fmla="*/ 6616899 h 6618553"/>
              <a:gd name="connsiteX3" fmla="*/ 579722 w 8915642"/>
              <a:gd name="connsiteY3" fmla="*/ 6618553 h 6618553"/>
              <a:gd name="connsiteX4" fmla="*/ 0 w 8915642"/>
              <a:gd name="connsiteY4" fmla="*/ 6038831 h 6618553"/>
              <a:gd name="connsiteX5" fmla="*/ 0 w 8915642"/>
              <a:gd name="connsiteY5" fmla="*/ 1 h 6618553"/>
              <a:gd name="connsiteX0" fmla="*/ 0 w 8915642"/>
              <a:gd name="connsiteY0" fmla="*/ 25404 h 6643956"/>
              <a:gd name="connsiteX1" fmla="*/ 6015348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25404 h 6643956"/>
              <a:gd name="connsiteX0" fmla="*/ 0 w 8915642"/>
              <a:gd name="connsiteY0" fmla="*/ 1653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1653 h 6620205"/>
              <a:gd name="connsiteX0" fmla="*/ 0 w 8915642"/>
              <a:gd name="connsiteY0" fmla="*/ 96656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96656 h 6620205"/>
              <a:gd name="connsiteX0" fmla="*/ 0 w 8915642"/>
              <a:gd name="connsiteY0" fmla="*/ 0 h 6642302"/>
              <a:gd name="connsiteX1" fmla="*/ 6003473 w 8915642"/>
              <a:gd name="connsiteY1" fmla="*/ 22097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0 h 6642302"/>
              <a:gd name="connsiteX1" fmla="*/ 5932221 w 8915642"/>
              <a:gd name="connsiteY1" fmla="*/ 152725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1654 h 6643956"/>
              <a:gd name="connsiteX1" fmla="*/ 6003473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1654 h 6643956"/>
              <a:gd name="connsiteX0" fmla="*/ 0 w 6018062"/>
              <a:gd name="connsiteY0" fmla="*/ 1654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1654 h 6654178"/>
              <a:gd name="connsiteX0" fmla="*/ 0 w 6018062"/>
              <a:gd name="connsiteY0" fmla="*/ 203535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203535 h 6654178"/>
              <a:gd name="connsiteX0" fmla="*/ 0 w 6018062"/>
              <a:gd name="connsiteY0" fmla="*/ 1655 h 6452298"/>
              <a:gd name="connsiteX1" fmla="*/ 4055920 w 6018062"/>
              <a:gd name="connsiteY1" fmla="*/ 0 h 6452298"/>
              <a:gd name="connsiteX2" fmla="*/ 6018062 w 6018062"/>
              <a:gd name="connsiteY2" fmla="*/ 6452298 h 6452298"/>
              <a:gd name="connsiteX3" fmla="*/ 579722 w 6018062"/>
              <a:gd name="connsiteY3" fmla="*/ 6442076 h 6452298"/>
              <a:gd name="connsiteX4" fmla="*/ 0 w 6018062"/>
              <a:gd name="connsiteY4" fmla="*/ 5862354 h 6452298"/>
              <a:gd name="connsiteX5" fmla="*/ 0 w 6018062"/>
              <a:gd name="connsiteY5" fmla="*/ 1655 h 6452298"/>
              <a:gd name="connsiteX0" fmla="*/ 0 w 4055973"/>
              <a:gd name="connsiteY0" fmla="*/ 1655 h 6452298"/>
              <a:gd name="connsiteX1" fmla="*/ 4055920 w 4055973"/>
              <a:gd name="connsiteY1" fmla="*/ 0 h 6452298"/>
              <a:gd name="connsiteX2" fmla="*/ 4046758 w 4055973"/>
              <a:gd name="connsiteY2" fmla="*/ 6452298 h 6452298"/>
              <a:gd name="connsiteX3" fmla="*/ 579722 w 4055973"/>
              <a:gd name="connsiteY3" fmla="*/ 6442076 h 6452298"/>
              <a:gd name="connsiteX4" fmla="*/ 0 w 4055973"/>
              <a:gd name="connsiteY4" fmla="*/ 5862354 h 6452298"/>
              <a:gd name="connsiteX5" fmla="*/ 0 w 4055973"/>
              <a:gd name="connsiteY5" fmla="*/ 1655 h 6452298"/>
              <a:gd name="connsiteX0" fmla="*/ 0 w 4055973"/>
              <a:gd name="connsiteY0" fmla="*/ 0 h 6652523"/>
              <a:gd name="connsiteX1" fmla="*/ 4055920 w 4055973"/>
              <a:gd name="connsiteY1" fmla="*/ 200225 h 6652523"/>
              <a:gd name="connsiteX2" fmla="*/ 4046758 w 4055973"/>
              <a:gd name="connsiteY2" fmla="*/ 6652523 h 6652523"/>
              <a:gd name="connsiteX3" fmla="*/ 579722 w 4055973"/>
              <a:gd name="connsiteY3" fmla="*/ 6642301 h 6652523"/>
              <a:gd name="connsiteX4" fmla="*/ 0 w 4055973"/>
              <a:gd name="connsiteY4" fmla="*/ 6062579 h 6652523"/>
              <a:gd name="connsiteX5" fmla="*/ 0 w 4055973"/>
              <a:gd name="connsiteY5" fmla="*/ 0 h 6652523"/>
              <a:gd name="connsiteX0" fmla="*/ 0 w 4046758"/>
              <a:gd name="connsiteY0" fmla="*/ 0 h 6652523"/>
              <a:gd name="connsiteX1" fmla="*/ 4044045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1655 h 6654178"/>
              <a:gd name="connsiteX1" fmla="*/ 3082144 w 4046758"/>
              <a:gd name="connsiteY1" fmla="*/ 0 h 6654178"/>
              <a:gd name="connsiteX2" fmla="*/ 4046758 w 4046758"/>
              <a:gd name="connsiteY2" fmla="*/ 6654178 h 6654178"/>
              <a:gd name="connsiteX3" fmla="*/ 579722 w 4046758"/>
              <a:gd name="connsiteY3" fmla="*/ 6643956 h 6654178"/>
              <a:gd name="connsiteX4" fmla="*/ 0 w 4046758"/>
              <a:gd name="connsiteY4" fmla="*/ 6064234 h 6654178"/>
              <a:gd name="connsiteX5" fmla="*/ 0 w 4046758"/>
              <a:gd name="connsiteY5" fmla="*/ 1655 h 6654178"/>
              <a:gd name="connsiteX0" fmla="*/ 0 w 4046758"/>
              <a:gd name="connsiteY0" fmla="*/ 0 h 6652523"/>
              <a:gd name="connsiteX1" fmla="*/ 2975266 w 4046758"/>
              <a:gd name="connsiteY1" fmla="*/ 93348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70268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82144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3082197"/>
              <a:gd name="connsiteY0" fmla="*/ 0 h 6652523"/>
              <a:gd name="connsiteX1" fmla="*/ 3082144 w 3082197"/>
              <a:gd name="connsiteY1" fmla="*/ 10220 h 6652523"/>
              <a:gd name="connsiteX2" fmla="*/ 3072982 w 3082197"/>
              <a:gd name="connsiteY2" fmla="*/ 6652523 h 6652523"/>
              <a:gd name="connsiteX3" fmla="*/ 579722 w 3082197"/>
              <a:gd name="connsiteY3" fmla="*/ 6642301 h 6652523"/>
              <a:gd name="connsiteX4" fmla="*/ 0 w 3082197"/>
              <a:gd name="connsiteY4" fmla="*/ 6062579 h 6652523"/>
              <a:gd name="connsiteX5" fmla="*/ 0 w 3082197"/>
              <a:gd name="connsiteY5" fmla="*/ 0 h 6652523"/>
              <a:gd name="connsiteX0" fmla="*/ 0 w 3072982"/>
              <a:gd name="connsiteY0" fmla="*/ 0 h 6652523"/>
              <a:gd name="connsiteX1" fmla="*/ 3010892 w 3072982"/>
              <a:gd name="connsiteY1" fmla="*/ 164599 h 6652523"/>
              <a:gd name="connsiteX2" fmla="*/ 3072982 w 3072982"/>
              <a:gd name="connsiteY2" fmla="*/ 6652523 h 6652523"/>
              <a:gd name="connsiteX3" fmla="*/ 579722 w 3072982"/>
              <a:gd name="connsiteY3" fmla="*/ 6642301 h 6652523"/>
              <a:gd name="connsiteX4" fmla="*/ 0 w 3072982"/>
              <a:gd name="connsiteY4" fmla="*/ 6062579 h 6652523"/>
              <a:gd name="connsiteX5" fmla="*/ 0 w 3072982"/>
              <a:gd name="connsiteY5" fmla="*/ 0 h 6652523"/>
              <a:gd name="connsiteX0" fmla="*/ 0 w 3082197"/>
              <a:gd name="connsiteY0" fmla="*/ 1656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656 h 6654179"/>
              <a:gd name="connsiteX0" fmla="*/ 0 w 3082197"/>
              <a:gd name="connsiteY0" fmla="*/ 1316107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316107 h 6654179"/>
              <a:gd name="connsiteX0" fmla="*/ 0 w 3082197"/>
              <a:gd name="connsiteY0" fmla="*/ 1657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1657 h 5339729"/>
              <a:gd name="connsiteX0" fmla="*/ 0 w 3082197"/>
              <a:gd name="connsiteY0" fmla="*/ 2202416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2202416 h 5339729"/>
              <a:gd name="connsiteX0" fmla="*/ 0 w 3082197"/>
              <a:gd name="connsiteY0" fmla="*/ 1656 h 3138969"/>
              <a:gd name="connsiteX1" fmla="*/ 3082144 w 3082197"/>
              <a:gd name="connsiteY1" fmla="*/ 0 h 3138969"/>
              <a:gd name="connsiteX2" fmla="*/ 3072982 w 3082197"/>
              <a:gd name="connsiteY2" fmla="*/ 3138969 h 3138969"/>
              <a:gd name="connsiteX3" fmla="*/ 579722 w 3082197"/>
              <a:gd name="connsiteY3" fmla="*/ 3128747 h 3138969"/>
              <a:gd name="connsiteX4" fmla="*/ 0 w 3082197"/>
              <a:gd name="connsiteY4" fmla="*/ 2549025 h 3138969"/>
              <a:gd name="connsiteX5" fmla="*/ 0 w 3082197"/>
              <a:gd name="connsiteY5" fmla="*/ 1656 h 3138969"/>
              <a:gd name="connsiteX0" fmla="*/ 0 w 3082145"/>
              <a:gd name="connsiteY0" fmla="*/ 1656 h 3150544"/>
              <a:gd name="connsiteX1" fmla="*/ 3082144 w 3082145"/>
              <a:gd name="connsiteY1" fmla="*/ 0 h 3150544"/>
              <a:gd name="connsiteX2" fmla="*/ 2772041 w 3082145"/>
              <a:gd name="connsiteY2" fmla="*/ 3150544 h 3150544"/>
              <a:gd name="connsiteX3" fmla="*/ 579722 w 3082145"/>
              <a:gd name="connsiteY3" fmla="*/ 3128747 h 3150544"/>
              <a:gd name="connsiteX4" fmla="*/ 0 w 3082145"/>
              <a:gd name="connsiteY4" fmla="*/ 2549025 h 3150544"/>
              <a:gd name="connsiteX5" fmla="*/ 0 w 3082145"/>
              <a:gd name="connsiteY5" fmla="*/ 1656 h 3150544"/>
              <a:gd name="connsiteX0" fmla="*/ 0 w 2772041"/>
              <a:gd name="connsiteY0" fmla="*/ 1656 h 3150544"/>
              <a:gd name="connsiteX1" fmla="*/ 2769627 w 2772041"/>
              <a:gd name="connsiteY1" fmla="*/ 0 h 3150544"/>
              <a:gd name="connsiteX2" fmla="*/ 2772041 w 2772041"/>
              <a:gd name="connsiteY2" fmla="*/ 3150544 h 3150544"/>
              <a:gd name="connsiteX3" fmla="*/ 579722 w 2772041"/>
              <a:gd name="connsiteY3" fmla="*/ 3128747 h 3150544"/>
              <a:gd name="connsiteX4" fmla="*/ 0 w 2772041"/>
              <a:gd name="connsiteY4" fmla="*/ 2549025 h 3150544"/>
              <a:gd name="connsiteX5" fmla="*/ 0 w 2772041"/>
              <a:gd name="connsiteY5" fmla="*/ 1656 h 3150544"/>
              <a:gd name="connsiteX0" fmla="*/ 0 w 2772041"/>
              <a:gd name="connsiteY0" fmla="*/ 1656 h 3138969"/>
              <a:gd name="connsiteX1" fmla="*/ 2769627 w 2772041"/>
              <a:gd name="connsiteY1" fmla="*/ 0 h 3138969"/>
              <a:gd name="connsiteX2" fmla="*/ 2772041 w 2772041"/>
              <a:gd name="connsiteY2" fmla="*/ 3138969 h 3138969"/>
              <a:gd name="connsiteX3" fmla="*/ 579722 w 2772041"/>
              <a:gd name="connsiteY3" fmla="*/ 3128747 h 3138969"/>
              <a:gd name="connsiteX4" fmla="*/ 0 w 2772041"/>
              <a:gd name="connsiteY4" fmla="*/ 2549025 h 3138969"/>
              <a:gd name="connsiteX5" fmla="*/ 0 w 2772041"/>
              <a:gd name="connsiteY5" fmla="*/ 1656 h 313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72041" h="3138969">
                <a:moveTo>
                  <a:pt x="0" y="1656"/>
                </a:moveTo>
                <a:lnTo>
                  <a:pt x="2769627" y="0"/>
                </a:lnTo>
                <a:cubicBezTo>
                  <a:pt x="2770532" y="2146807"/>
                  <a:pt x="2771136" y="992162"/>
                  <a:pt x="2772041" y="3138969"/>
                </a:cubicBezTo>
                <a:lnTo>
                  <a:pt x="579722" y="3128747"/>
                </a:lnTo>
                <a:cubicBezTo>
                  <a:pt x="259550" y="3128747"/>
                  <a:pt x="0" y="2869197"/>
                  <a:pt x="0" y="2549025"/>
                </a:cubicBezTo>
                <a:lnTo>
                  <a:pt x="0" y="1656"/>
                </a:ln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JP"/>
              <a:t>Insert Picture/Text Block</a:t>
            </a:r>
          </a:p>
        </p:txBody>
      </p:sp>
      <p:sp>
        <p:nvSpPr>
          <p:cNvPr id="24" name="Picture Placeholder 9">
            <a:extLst>
              <a:ext uri="{FF2B5EF4-FFF2-40B4-BE49-F238E27FC236}">
                <a16:creationId xmlns:a16="http://schemas.microsoft.com/office/drawing/2014/main" id="{AA8F528A-C9DE-0B46-881A-43E0F9B6F67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2433371" y="3076287"/>
            <a:ext cx="2079031" cy="2913034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18553"/>
              <a:gd name="connsiteX1" fmla="*/ 8912928 w 8915642"/>
              <a:gd name="connsiteY1" fmla="*/ 176478 h 6618553"/>
              <a:gd name="connsiteX2" fmla="*/ 8915642 w 8915642"/>
              <a:gd name="connsiteY2" fmla="*/ 6616899 h 6618553"/>
              <a:gd name="connsiteX3" fmla="*/ 579722 w 8915642"/>
              <a:gd name="connsiteY3" fmla="*/ 6618553 h 6618553"/>
              <a:gd name="connsiteX4" fmla="*/ 0 w 8915642"/>
              <a:gd name="connsiteY4" fmla="*/ 6038831 h 6618553"/>
              <a:gd name="connsiteX5" fmla="*/ 0 w 8915642"/>
              <a:gd name="connsiteY5" fmla="*/ 1 h 6618553"/>
              <a:gd name="connsiteX0" fmla="*/ 0 w 8915642"/>
              <a:gd name="connsiteY0" fmla="*/ 25404 h 6643956"/>
              <a:gd name="connsiteX1" fmla="*/ 6015348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25404 h 6643956"/>
              <a:gd name="connsiteX0" fmla="*/ 0 w 8915642"/>
              <a:gd name="connsiteY0" fmla="*/ 1653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1653 h 6620205"/>
              <a:gd name="connsiteX0" fmla="*/ 0 w 8915642"/>
              <a:gd name="connsiteY0" fmla="*/ 96656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96656 h 6620205"/>
              <a:gd name="connsiteX0" fmla="*/ 0 w 8915642"/>
              <a:gd name="connsiteY0" fmla="*/ 0 h 6642302"/>
              <a:gd name="connsiteX1" fmla="*/ 6003473 w 8915642"/>
              <a:gd name="connsiteY1" fmla="*/ 22097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0 h 6642302"/>
              <a:gd name="connsiteX1" fmla="*/ 5932221 w 8915642"/>
              <a:gd name="connsiteY1" fmla="*/ 152725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1654 h 6643956"/>
              <a:gd name="connsiteX1" fmla="*/ 6003473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1654 h 6643956"/>
              <a:gd name="connsiteX0" fmla="*/ 0 w 6018062"/>
              <a:gd name="connsiteY0" fmla="*/ 1654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1654 h 6654178"/>
              <a:gd name="connsiteX0" fmla="*/ 0 w 6018062"/>
              <a:gd name="connsiteY0" fmla="*/ 203535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203535 h 6654178"/>
              <a:gd name="connsiteX0" fmla="*/ 0 w 6018062"/>
              <a:gd name="connsiteY0" fmla="*/ 1655 h 6452298"/>
              <a:gd name="connsiteX1" fmla="*/ 4055920 w 6018062"/>
              <a:gd name="connsiteY1" fmla="*/ 0 h 6452298"/>
              <a:gd name="connsiteX2" fmla="*/ 6018062 w 6018062"/>
              <a:gd name="connsiteY2" fmla="*/ 6452298 h 6452298"/>
              <a:gd name="connsiteX3" fmla="*/ 579722 w 6018062"/>
              <a:gd name="connsiteY3" fmla="*/ 6442076 h 6452298"/>
              <a:gd name="connsiteX4" fmla="*/ 0 w 6018062"/>
              <a:gd name="connsiteY4" fmla="*/ 5862354 h 6452298"/>
              <a:gd name="connsiteX5" fmla="*/ 0 w 6018062"/>
              <a:gd name="connsiteY5" fmla="*/ 1655 h 6452298"/>
              <a:gd name="connsiteX0" fmla="*/ 0 w 4055973"/>
              <a:gd name="connsiteY0" fmla="*/ 1655 h 6452298"/>
              <a:gd name="connsiteX1" fmla="*/ 4055920 w 4055973"/>
              <a:gd name="connsiteY1" fmla="*/ 0 h 6452298"/>
              <a:gd name="connsiteX2" fmla="*/ 4046758 w 4055973"/>
              <a:gd name="connsiteY2" fmla="*/ 6452298 h 6452298"/>
              <a:gd name="connsiteX3" fmla="*/ 579722 w 4055973"/>
              <a:gd name="connsiteY3" fmla="*/ 6442076 h 6452298"/>
              <a:gd name="connsiteX4" fmla="*/ 0 w 4055973"/>
              <a:gd name="connsiteY4" fmla="*/ 5862354 h 6452298"/>
              <a:gd name="connsiteX5" fmla="*/ 0 w 4055973"/>
              <a:gd name="connsiteY5" fmla="*/ 1655 h 6452298"/>
              <a:gd name="connsiteX0" fmla="*/ 0 w 4055973"/>
              <a:gd name="connsiteY0" fmla="*/ 0 h 6652523"/>
              <a:gd name="connsiteX1" fmla="*/ 4055920 w 4055973"/>
              <a:gd name="connsiteY1" fmla="*/ 200225 h 6652523"/>
              <a:gd name="connsiteX2" fmla="*/ 4046758 w 4055973"/>
              <a:gd name="connsiteY2" fmla="*/ 6652523 h 6652523"/>
              <a:gd name="connsiteX3" fmla="*/ 579722 w 4055973"/>
              <a:gd name="connsiteY3" fmla="*/ 6642301 h 6652523"/>
              <a:gd name="connsiteX4" fmla="*/ 0 w 4055973"/>
              <a:gd name="connsiteY4" fmla="*/ 6062579 h 6652523"/>
              <a:gd name="connsiteX5" fmla="*/ 0 w 4055973"/>
              <a:gd name="connsiteY5" fmla="*/ 0 h 6652523"/>
              <a:gd name="connsiteX0" fmla="*/ 0 w 4046758"/>
              <a:gd name="connsiteY0" fmla="*/ 0 h 6652523"/>
              <a:gd name="connsiteX1" fmla="*/ 4044045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1655 h 6654178"/>
              <a:gd name="connsiteX1" fmla="*/ 3082144 w 4046758"/>
              <a:gd name="connsiteY1" fmla="*/ 0 h 6654178"/>
              <a:gd name="connsiteX2" fmla="*/ 4046758 w 4046758"/>
              <a:gd name="connsiteY2" fmla="*/ 6654178 h 6654178"/>
              <a:gd name="connsiteX3" fmla="*/ 579722 w 4046758"/>
              <a:gd name="connsiteY3" fmla="*/ 6643956 h 6654178"/>
              <a:gd name="connsiteX4" fmla="*/ 0 w 4046758"/>
              <a:gd name="connsiteY4" fmla="*/ 6064234 h 6654178"/>
              <a:gd name="connsiteX5" fmla="*/ 0 w 4046758"/>
              <a:gd name="connsiteY5" fmla="*/ 1655 h 6654178"/>
              <a:gd name="connsiteX0" fmla="*/ 0 w 4046758"/>
              <a:gd name="connsiteY0" fmla="*/ 0 h 6652523"/>
              <a:gd name="connsiteX1" fmla="*/ 2975266 w 4046758"/>
              <a:gd name="connsiteY1" fmla="*/ 93348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70268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82144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3082197"/>
              <a:gd name="connsiteY0" fmla="*/ 0 h 6652523"/>
              <a:gd name="connsiteX1" fmla="*/ 3082144 w 3082197"/>
              <a:gd name="connsiteY1" fmla="*/ 10220 h 6652523"/>
              <a:gd name="connsiteX2" fmla="*/ 3072982 w 3082197"/>
              <a:gd name="connsiteY2" fmla="*/ 6652523 h 6652523"/>
              <a:gd name="connsiteX3" fmla="*/ 579722 w 3082197"/>
              <a:gd name="connsiteY3" fmla="*/ 6642301 h 6652523"/>
              <a:gd name="connsiteX4" fmla="*/ 0 w 3082197"/>
              <a:gd name="connsiteY4" fmla="*/ 6062579 h 6652523"/>
              <a:gd name="connsiteX5" fmla="*/ 0 w 3082197"/>
              <a:gd name="connsiteY5" fmla="*/ 0 h 6652523"/>
              <a:gd name="connsiteX0" fmla="*/ 0 w 3072982"/>
              <a:gd name="connsiteY0" fmla="*/ 0 h 6652523"/>
              <a:gd name="connsiteX1" fmla="*/ 3010892 w 3072982"/>
              <a:gd name="connsiteY1" fmla="*/ 164599 h 6652523"/>
              <a:gd name="connsiteX2" fmla="*/ 3072982 w 3072982"/>
              <a:gd name="connsiteY2" fmla="*/ 6652523 h 6652523"/>
              <a:gd name="connsiteX3" fmla="*/ 579722 w 3072982"/>
              <a:gd name="connsiteY3" fmla="*/ 6642301 h 6652523"/>
              <a:gd name="connsiteX4" fmla="*/ 0 w 3072982"/>
              <a:gd name="connsiteY4" fmla="*/ 6062579 h 6652523"/>
              <a:gd name="connsiteX5" fmla="*/ 0 w 3072982"/>
              <a:gd name="connsiteY5" fmla="*/ 0 h 6652523"/>
              <a:gd name="connsiteX0" fmla="*/ 0 w 3082197"/>
              <a:gd name="connsiteY0" fmla="*/ 1656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656 h 6654179"/>
              <a:gd name="connsiteX0" fmla="*/ 0 w 3082197"/>
              <a:gd name="connsiteY0" fmla="*/ 1316107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316107 h 6654179"/>
              <a:gd name="connsiteX0" fmla="*/ 0 w 3082197"/>
              <a:gd name="connsiteY0" fmla="*/ 1657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1657 h 5339729"/>
              <a:gd name="connsiteX0" fmla="*/ 0 w 3082197"/>
              <a:gd name="connsiteY0" fmla="*/ 2202416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2202416 h 5339729"/>
              <a:gd name="connsiteX0" fmla="*/ 0 w 3082197"/>
              <a:gd name="connsiteY0" fmla="*/ 1656 h 3138969"/>
              <a:gd name="connsiteX1" fmla="*/ 3082144 w 3082197"/>
              <a:gd name="connsiteY1" fmla="*/ 0 h 3138969"/>
              <a:gd name="connsiteX2" fmla="*/ 3072982 w 3082197"/>
              <a:gd name="connsiteY2" fmla="*/ 3138969 h 3138969"/>
              <a:gd name="connsiteX3" fmla="*/ 579722 w 3082197"/>
              <a:gd name="connsiteY3" fmla="*/ 3128747 h 3138969"/>
              <a:gd name="connsiteX4" fmla="*/ 0 w 3082197"/>
              <a:gd name="connsiteY4" fmla="*/ 2549025 h 3138969"/>
              <a:gd name="connsiteX5" fmla="*/ 0 w 3082197"/>
              <a:gd name="connsiteY5" fmla="*/ 1656 h 3138969"/>
              <a:gd name="connsiteX0" fmla="*/ 0 w 3082145"/>
              <a:gd name="connsiteY0" fmla="*/ 1656 h 3150544"/>
              <a:gd name="connsiteX1" fmla="*/ 3082144 w 3082145"/>
              <a:gd name="connsiteY1" fmla="*/ 0 h 3150544"/>
              <a:gd name="connsiteX2" fmla="*/ 2772041 w 3082145"/>
              <a:gd name="connsiteY2" fmla="*/ 3150544 h 3150544"/>
              <a:gd name="connsiteX3" fmla="*/ 579722 w 3082145"/>
              <a:gd name="connsiteY3" fmla="*/ 3128747 h 3150544"/>
              <a:gd name="connsiteX4" fmla="*/ 0 w 3082145"/>
              <a:gd name="connsiteY4" fmla="*/ 2549025 h 3150544"/>
              <a:gd name="connsiteX5" fmla="*/ 0 w 3082145"/>
              <a:gd name="connsiteY5" fmla="*/ 1656 h 3150544"/>
              <a:gd name="connsiteX0" fmla="*/ 0 w 2772041"/>
              <a:gd name="connsiteY0" fmla="*/ 1656 h 3150544"/>
              <a:gd name="connsiteX1" fmla="*/ 2769627 w 2772041"/>
              <a:gd name="connsiteY1" fmla="*/ 0 h 3150544"/>
              <a:gd name="connsiteX2" fmla="*/ 2772041 w 2772041"/>
              <a:gd name="connsiteY2" fmla="*/ 3150544 h 3150544"/>
              <a:gd name="connsiteX3" fmla="*/ 579722 w 2772041"/>
              <a:gd name="connsiteY3" fmla="*/ 3128747 h 3150544"/>
              <a:gd name="connsiteX4" fmla="*/ 0 w 2772041"/>
              <a:gd name="connsiteY4" fmla="*/ 2549025 h 3150544"/>
              <a:gd name="connsiteX5" fmla="*/ 0 w 2772041"/>
              <a:gd name="connsiteY5" fmla="*/ 1656 h 3150544"/>
              <a:gd name="connsiteX0" fmla="*/ 0 w 2772041"/>
              <a:gd name="connsiteY0" fmla="*/ 1656 h 3138969"/>
              <a:gd name="connsiteX1" fmla="*/ 2769627 w 2772041"/>
              <a:gd name="connsiteY1" fmla="*/ 0 h 3138969"/>
              <a:gd name="connsiteX2" fmla="*/ 2772041 w 2772041"/>
              <a:gd name="connsiteY2" fmla="*/ 3138969 h 3138969"/>
              <a:gd name="connsiteX3" fmla="*/ 579722 w 2772041"/>
              <a:gd name="connsiteY3" fmla="*/ 3128747 h 3138969"/>
              <a:gd name="connsiteX4" fmla="*/ 0 w 2772041"/>
              <a:gd name="connsiteY4" fmla="*/ 2549025 h 3138969"/>
              <a:gd name="connsiteX5" fmla="*/ 0 w 2772041"/>
              <a:gd name="connsiteY5" fmla="*/ 1656 h 313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72041" h="3138969">
                <a:moveTo>
                  <a:pt x="0" y="1656"/>
                </a:moveTo>
                <a:lnTo>
                  <a:pt x="2769627" y="0"/>
                </a:lnTo>
                <a:cubicBezTo>
                  <a:pt x="2770532" y="2146807"/>
                  <a:pt x="2771136" y="992162"/>
                  <a:pt x="2772041" y="3138969"/>
                </a:cubicBezTo>
                <a:lnTo>
                  <a:pt x="579722" y="3128747"/>
                </a:lnTo>
                <a:cubicBezTo>
                  <a:pt x="259550" y="3128747"/>
                  <a:pt x="0" y="2869197"/>
                  <a:pt x="0" y="2549025"/>
                </a:cubicBezTo>
                <a:lnTo>
                  <a:pt x="0" y="1656"/>
                </a:ln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JP"/>
              <a:t>Insert Picture/Text Block</a:t>
            </a:r>
          </a:p>
        </p:txBody>
      </p:sp>
      <p:sp>
        <p:nvSpPr>
          <p:cNvPr id="25" name="Picture Placeholder 9">
            <a:extLst>
              <a:ext uri="{FF2B5EF4-FFF2-40B4-BE49-F238E27FC236}">
                <a16:creationId xmlns:a16="http://schemas.microsoft.com/office/drawing/2014/main" id="{E01CF285-75D7-154A-ACF2-9393FB0B38D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633212" y="3076287"/>
            <a:ext cx="2079031" cy="2913034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18553"/>
              <a:gd name="connsiteX1" fmla="*/ 8912928 w 8915642"/>
              <a:gd name="connsiteY1" fmla="*/ 176478 h 6618553"/>
              <a:gd name="connsiteX2" fmla="*/ 8915642 w 8915642"/>
              <a:gd name="connsiteY2" fmla="*/ 6616899 h 6618553"/>
              <a:gd name="connsiteX3" fmla="*/ 579722 w 8915642"/>
              <a:gd name="connsiteY3" fmla="*/ 6618553 h 6618553"/>
              <a:gd name="connsiteX4" fmla="*/ 0 w 8915642"/>
              <a:gd name="connsiteY4" fmla="*/ 6038831 h 6618553"/>
              <a:gd name="connsiteX5" fmla="*/ 0 w 8915642"/>
              <a:gd name="connsiteY5" fmla="*/ 1 h 6618553"/>
              <a:gd name="connsiteX0" fmla="*/ 0 w 8915642"/>
              <a:gd name="connsiteY0" fmla="*/ 25404 h 6643956"/>
              <a:gd name="connsiteX1" fmla="*/ 6015348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25404 h 6643956"/>
              <a:gd name="connsiteX0" fmla="*/ 0 w 8915642"/>
              <a:gd name="connsiteY0" fmla="*/ 1653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1653 h 6620205"/>
              <a:gd name="connsiteX0" fmla="*/ 0 w 8915642"/>
              <a:gd name="connsiteY0" fmla="*/ 96656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96656 h 6620205"/>
              <a:gd name="connsiteX0" fmla="*/ 0 w 8915642"/>
              <a:gd name="connsiteY0" fmla="*/ 0 h 6642302"/>
              <a:gd name="connsiteX1" fmla="*/ 6003473 w 8915642"/>
              <a:gd name="connsiteY1" fmla="*/ 22097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0 h 6642302"/>
              <a:gd name="connsiteX1" fmla="*/ 5932221 w 8915642"/>
              <a:gd name="connsiteY1" fmla="*/ 152725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1654 h 6643956"/>
              <a:gd name="connsiteX1" fmla="*/ 6003473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1654 h 6643956"/>
              <a:gd name="connsiteX0" fmla="*/ 0 w 6018062"/>
              <a:gd name="connsiteY0" fmla="*/ 1654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1654 h 6654178"/>
              <a:gd name="connsiteX0" fmla="*/ 0 w 6018062"/>
              <a:gd name="connsiteY0" fmla="*/ 203535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203535 h 6654178"/>
              <a:gd name="connsiteX0" fmla="*/ 0 w 6018062"/>
              <a:gd name="connsiteY0" fmla="*/ 1655 h 6452298"/>
              <a:gd name="connsiteX1" fmla="*/ 4055920 w 6018062"/>
              <a:gd name="connsiteY1" fmla="*/ 0 h 6452298"/>
              <a:gd name="connsiteX2" fmla="*/ 6018062 w 6018062"/>
              <a:gd name="connsiteY2" fmla="*/ 6452298 h 6452298"/>
              <a:gd name="connsiteX3" fmla="*/ 579722 w 6018062"/>
              <a:gd name="connsiteY3" fmla="*/ 6442076 h 6452298"/>
              <a:gd name="connsiteX4" fmla="*/ 0 w 6018062"/>
              <a:gd name="connsiteY4" fmla="*/ 5862354 h 6452298"/>
              <a:gd name="connsiteX5" fmla="*/ 0 w 6018062"/>
              <a:gd name="connsiteY5" fmla="*/ 1655 h 6452298"/>
              <a:gd name="connsiteX0" fmla="*/ 0 w 4055973"/>
              <a:gd name="connsiteY0" fmla="*/ 1655 h 6452298"/>
              <a:gd name="connsiteX1" fmla="*/ 4055920 w 4055973"/>
              <a:gd name="connsiteY1" fmla="*/ 0 h 6452298"/>
              <a:gd name="connsiteX2" fmla="*/ 4046758 w 4055973"/>
              <a:gd name="connsiteY2" fmla="*/ 6452298 h 6452298"/>
              <a:gd name="connsiteX3" fmla="*/ 579722 w 4055973"/>
              <a:gd name="connsiteY3" fmla="*/ 6442076 h 6452298"/>
              <a:gd name="connsiteX4" fmla="*/ 0 w 4055973"/>
              <a:gd name="connsiteY4" fmla="*/ 5862354 h 6452298"/>
              <a:gd name="connsiteX5" fmla="*/ 0 w 4055973"/>
              <a:gd name="connsiteY5" fmla="*/ 1655 h 6452298"/>
              <a:gd name="connsiteX0" fmla="*/ 0 w 4055973"/>
              <a:gd name="connsiteY0" fmla="*/ 0 h 6652523"/>
              <a:gd name="connsiteX1" fmla="*/ 4055920 w 4055973"/>
              <a:gd name="connsiteY1" fmla="*/ 200225 h 6652523"/>
              <a:gd name="connsiteX2" fmla="*/ 4046758 w 4055973"/>
              <a:gd name="connsiteY2" fmla="*/ 6652523 h 6652523"/>
              <a:gd name="connsiteX3" fmla="*/ 579722 w 4055973"/>
              <a:gd name="connsiteY3" fmla="*/ 6642301 h 6652523"/>
              <a:gd name="connsiteX4" fmla="*/ 0 w 4055973"/>
              <a:gd name="connsiteY4" fmla="*/ 6062579 h 6652523"/>
              <a:gd name="connsiteX5" fmla="*/ 0 w 4055973"/>
              <a:gd name="connsiteY5" fmla="*/ 0 h 6652523"/>
              <a:gd name="connsiteX0" fmla="*/ 0 w 4046758"/>
              <a:gd name="connsiteY0" fmla="*/ 0 h 6652523"/>
              <a:gd name="connsiteX1" fmla="*/ 4044045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1655 h 6654178"/>
              <a:gd name="connsiteX1" fmla="*/ 3082144 w 4046758"/>
              <a:gd name="connsiteY1" fmla="*/ 0 h 6654178"/>
              <a:gd name="connsiteX2" fmla="*/ 4046758 w 4046758"/>
              <a:gd name="connsiteY2" fmla="*/ 6654178 h 6654178"/>
              <a:gd name="connsiteX3" fmla="*/ 579722 w 4046758"/>
              <a:gd name="connsiteY3" fmla="*/ 6643956 h 6654178"/>
              <a:gd name="connsiteX4" fmla="*/ 0 w 4046758"/>
              <a:gd name="connsiteY4" fmla="*/ 6064234 h 6654178"/>
              <a:gd name="connsiteX5" fmla="*/ 0 w 4046758"/>
              <a:gd name="connsiteY5" fmla="*/ 1655 h 6654178"/>
              <a:gd name="connsiteX0" fmla="*/ 0 w 4046758"/>
              <a:gd name="connsiteY0" fmla="*/ 0 h 6652523"/>
              <a:gd name="connsiteX1" fmla="*/ 2975266 w 4046758"/>
              <a:gd name="connsiteY1" fmla="*/ 93348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70268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82144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3082197"/>
              <a:gd name="connsiteY0" fmla="*/ 0 h 6652523"/>
              <a:gd name="connsiteX1" fmla="*/ 3082144 w 3082197"/>
              <a:gd name="connsiteY1" fmla="*/ 10220 h 6652523"/>
              <a:gd name="connsiteX2" fmla="*/ 3072982 w 3082197"/>
              <a:gd name="connsiteY2" fmla="*/ 6652523 h 6652523"/>
              <a:gd name="connsiteX3" fmla="*/ 579722 w 3082197"/>
              <a:gd name="connsiteY3" fmla="*/ 6642301 h 6652523"/>
              <a:gd name="connsiteX4" fmla="*/ 0 w 3082197"/>
              <a:gd name="connsiteY4" fmla="*/ 6062579 h 6652523"/>
              <a:gd name="connsiteX5" fmla="*/ 0 w 3082197"/>
              <a:gd name="connsiteY5" fmla="*/ 0 h 6652523"/>
              <a:gd name="connsiteX0" fmla="*/ 0 w 3072982"/>
              <a:gd name="connsiteY0" fmla="*/ 0 h 6652523"/>
              <a:gd name="connsiteX1" fmla="*/ 3010892 w 3072982"/>
              <a:gd name="connsiteY1" fmla="*/ 164599 h 6652523"/>
              <a:gd name="connsiteX2" fmla="*/ 3072982 w 3072982"/>
              <a:gd name="connsiteY2" fmla="*/ 6652523 h 6652523"/>
              <a:gd name="connsiteX3" fmla="*/ 579722 w 3072982"/>
              <a:gd name="connsiteY3" fmla="*/ 6642301 h 6652523"/>
              <a:gd name="connsiteX4" fmla="*/ 0 w 3072982"/>
              <a:gd name="connsiteY4" fmla="*/ 6062579 h 6652523"/>
              <a:gd name="connsiteX5" fmla="*/ 0 w 3072982"/>
              <a:gd name="connsiteY5" fmla="*/ 0 h 6652523"/>
              <a:gd name="connsiteX0" fmla="*/ 0 w 3082197"/>
              <a:gd name="connsiteY0" fmla="*/ 1656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656 h 6654179"/>
              <a:gd name="connsiteX0" fmla="*/ 0 w 3082197"/>
              <a:gd name="connsiteY0" fmla="*/ 1316107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316107 h 6654179"/>
              <a:gd name="connsiteX0" fmla="*/ 0 w 3082197"/>
              <a:gd name="connsiteY0" fmla="*/ 1657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1657 h 5339729"/>
              <a:gd name="connsiteX0" fmla="*/ 0 w 3082197"/>
              <a:gd name="connsiteY0" fmla="*/ 2202416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2202416 h 5339729"/>
              <a:gd name="connsiteX0" fmla="*/ 0 w 3082197"/>
              <a:gd name="connsiteY0" fmla="*/ 1656 h 3138969"/>
              <a:gd name="connsiteX1" fmla="*/ 3082144 w 3082197"/>
              <a:gd name="connsiteY1" fmla="*/ 0 h 3138969"/>
              <a:gd name="connsiteX2" fmla="*/ 3072982 w 3082197"/>
              <a:gd name="connsiteY2" fmla="*/ 3138969 h 3138969"/>
              <a:gd name="connsiteX3" fmla="*/ 579722 w 3082197"/>
              <a:gd name="connsiteY3" fmla="*/ 3128747 h 3138969"/>
              <a:gd name="connsiteX4" fmla="*/ 0 w 3082197"/>
              <a:gd name="connsiteY4" fmla="*/ 2549025 h 3138969"/>
              <a:gd name="connsiteX5" fmla="*/ 0 w 3082197"/>
              <a:gd name="connsiteY5" fmla="*/ 1656 h 3138969"/>
              <a:gd name="connsiteX0" fmla="*/ 0 w 3082145"/>
              <a:gd name="connsiteY0" fmla="*/ 1656 h 3150544"/>
              <a:gd name="connsiteX1" fmla="*/ 3082144 w 3082145"/>
              <a:gd name="connsiteY1" fmla="*/ 0 h 3150544"/>
              <a:gd name="connsiteX2" fmla="*/ 2772041 w 3082145"/>
              <a:gd name="connsiteY2" fmla="*/ 3150544 h 3150544"/>
              <a:gd name="connsiteX3" fmla="*/ 579722 w 3082145"/>
              <a:gd name="connsiteY3" fmla="*/ 3128747 h 3150544"/>
              <a:gd name="connsiteX4" fmla="*/ 0 w 3082145"/>
              <a:gd name="connsiteY4" fmla="*/ 2549025 h 3150544"/>
              <a:gd name="connsiteX5" fmla="*/ 0 w 3082145"/>
              <a:gd name="connsiteY5" fmla="*/ 1656 h 3150544"/>
              <a:gd name="connsiteX0" fmla="*/ 0 w 2772041"/>
              <a:gd name="connsiteY0" fmla="*/ 1656 h 3150544"/>
              <a:gd name="connsiteX1" fmla="*/ 2769627 w 2772041"/>
              <a:gd name="connsiteY1" fmla="*/ 0 h 3150544"/>
              <a:gd name="connsiteX2" fmla="*/ 2772041 w 2772041"/>
              <a:gd name="connsiteY2" fmla="*/ 3150544 h 3150544"/>
              <a:gd name="connsiteX3" fmla="*/ 579722 w 2772041"/>
              <a:gd name="connsiteY3" fmla="*/ 3128747 h 3150544"/>
              <a:gd name="connsiteX4" fmla="*/ 0 w 2772041"/>
              <a:gd name="connsiteY4" fmla="*/ 2549025 h 3150544"/>
              <a:gd name="connsiteX5" fmla="*/ 0 w 2772041"/>
              <a:gd name="connsiteY5" fmla="*/ 1656 h 3150544"/>
              <a:gd name="connsiteX0" fmla="*/ 0 w 2772041"/>
              <a:gd name="connsiteY0" fmla="*/ 1656 h 3138969"/>
              <a:gd name="connsiteX1" fmla="*/ 2769627 w 2772041"/>
              <a:gd name="connsiteY1" fmla="*/ 0 h 3138969"/>
              <a:gd name="connsiteX2" fmla="*/ 2772041 w 2772041"/>
              <a:gd name="connsiteY2" fmla="*/ 3138969 h 3138969"/>
              <a:gd name="connsiteX3" fmla="*/ 579722 w 2772041"/>
              <a:gd name="connsiteY3" fmla="*/ 3128747 h 3138969"/>
              <a:gd name="connsiteX4" fmla="*/ 0 w 2772041"/>
              <a:gd name="connsiteY4" fmla="*/ 2549025 h 3138969"/>
              <a:gd name="connsiteX5" fmla="*/ 0 w 2772041"/>
              <a:gd name="connsiteY5" fmla="*/ 1656 h 313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72041" h="3138969">
                <a:moveTo>
                  <a:pt x="0" y="1656"/>
                </a:moveTo>
                <a:lnTo>
                  <a:pt x="2769627" y="0"/>
                </a:lnTo>
                <a:cubicBezTo>
                  <a:pt x="2770532" y="2146807"/>
                  <a:pt x="2771136" y="992162"/>
                  <a:pt x="2772041" y="3138969"/>
                </a:cubicBezTo>
                <a:lnTo>
                  <a:pt x="579722" y="3128747"/>
                </a:lnTo>
                <a:cubicBezTo>
                  <a:pt x="259550" y="3128747"/>
                  <a:pt x="0" y="2869197"/>
                  <a:pt x="0" y="2549025"/>
                </a:cubicBezTo>
                <a:lnTo>
                  <a:pt x="0" y="1656"/>
                </a:ln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US"/>
              <a:t>Insert Picture/Text Block</a:t>
            </a:r>
          </a:p>
          <a:p>
            <a:endParaRPr lang="en-US"/>
          </a:p>
          <a:p>
            <a:endParaRPr lang="en-JP"/>
          </a:p>
        </p:txBody>
      </p:sp>
      <p:sp>
        <p:nvSpPr>
          <p:cNvPr id="18" name="タイトル プレースホルダ 1">
            <a:extLst>
              <a:ext uri="{FF2B5EF4-FFF2-40B4-BE49-F238E27FC236}">
                <a16:creationId xmlns:a16="http://schemas.microsoft.com/office/drawing/2014/main" id="{4FBB8310-69E6-7C4E-A4B1-C022B6FEE2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7455190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EF9AE6-D84E-9F43-9506-6676EC51B210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8" name="スライド番号プレースホルダ 5">
            <a:extLst>
              <a:ext uri="{FF2B5EF4-FFF2-40B4-BE49-F238E27FC236}">
                <a16:creationId xmlns:a16="http://schemas.microsoft.com/office/drawing/2014/main" id="{F964ADE6-9B0D-EC45-959C-FEEA5CDDFB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914108"/>
            <a:fld id="{E9B57936-92EF-4126-AE48-1D9D36D15E98}" type="slidenum">
              <a:rPr lang="ja-JP" altLang="en-US" smtClean="0"/>
              <a:pPr defTabSz="914108"/>
              <a:t>‹#›</a:t>
            </a:fld>
            <a:endParaRPr lang="ja-JP" altLang="en-US"/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870D8562-3CE7-7044-9BB0-2068A81BF5C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99C450B-0755-7D4A-9672-E700D6F2E50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33363" y="1491374"/>
            <a:ext cx="8677274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/>
            </a:lvl1pPr>
            <a:lvl2pPr marL="342801" indent="0">
              <a:buNone/>
              <a:defRPr sz="1350" b="1"/>
            </a:lvl2pPr>
            <a:lvl3pPr marL="685612" indent="0">
              <a:buNone/>
              <a:defRPr sz="1350" b="1"/>
            </a:lvl3pPr>
            <a:lvl4pPr marL="1028414" indent="0">
              <a:buNone/>
              <a:defRPr sz="1350" b="1"/>
            </a:lvl4pPr>
            <a:lvl5pPr marL="1371218" indent="0">
              <a:buNone/>
              <a:defRPr sz="135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705B1BEB-AC9F-9643-A446-ABE1DDB9614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33362" y="1093767"/>
            <a:ext cx="8677274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50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Primary Titl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CE3E4B99-F815-F000-743B-0A2CE7B24B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24926" y="277419"/>
            <a:ext cx="844617" cy="394888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B26CD1A1-A451-4F40-D2E5-2F42DC26D66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8093234" y="6293801"/>
            <a:ext cx="825739" cy="37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3054572"/>
      </p:ext>
    </p:extLst>
  </p:cSld>
  <p:clrMapOvr>
    <a:masterClrMapping/>
  </p:clrMapOvr>
  <p:transition spd="slow">
    <p:push dir="u"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dvanced Chart Full Wid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A6D4E593-FDCC-D14E-9C5E-5F309E415C26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231917" y="3076287"/>
            <a:ext cx="8678721" cy="288255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/>
            </a:lvl1pPr>
          </a:lstStyle>
          <a:p>
            <a:r>
              <a:rPr lang="en-JP"/>
              <a:t>Insert Chart</a:t>
            </a:r>
          </a:p>
        </p:txBody>
      </p:sp>
      <p:sp>
        <p:nvSpPr>
          <p:cNvPr id="12" name="タイトル プレースホルダ 1">
            <a:extLst>
              <a:ext uri="{FF2B5EF4-FFF2-40B4-BE49-F238E27FC236}">
                <a16:creationId xmlns:a16="http://schemas.microsoft.com/office/drawing/2014/main" id="{75E45CD2-2EBD-AE47-837E-9F752C565F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7455190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436966D-3DF0-4D41-9D26-4860D147F807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3" name="スライド番号プレースホルダ 5">
            <a:extLst>
              <a:ext uri="{FF2B5EF4-FFF2-40B4-BE49-F238E27FC236}">
                <a16:creationId xmlns:a16="http://schemas.microsoft.com/office/drawing/2014/main" id="{600920FB-2D44-F645-865D-89FFECB095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914108"/>
            <a:fld id="{E9B57936-92EF-4126-AE48-1D9D36D15E98}" type="slidenum">
              <a:rPr lang="ja-JP" altLang="en-US" smtClean="0"/>
              <a:pPr defTabSz="914108"/>
              <a:t>‹#›</a:t>
            </a:fld>
            <a:endParaRPr lang="ja-JP" altLang="en-US"/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07DE8F7E-1418-1C4C-A62B-2385714992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628A960D-6A45-6744-9BDB-7070B443CC6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3363" y="1491374"/>
            <a:ext cx="8677274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/>
            </a:lvl1pPr>
            <a:lvl2pPr marL="342801" indent="0">
              <a:buNone/>
              <a:defRPr sz="1350" b="1"/>
            </a:lvl2pPr>
            <a:lvl3pPr marL="685612" indent="0">
              <a:buNone/>
              <a:defRPr sz="1350" b="1"/>
            </a:lvl3pPr>
            <a:lvl4pPr marL="1028414" indent="0">
              <a:buNone/>
              <a:defRPr sz="1350" b="1"/>
            </a:lvl4pPr>
            <a:lvl5pPr marL="1371218" indent="0">
              <a:buNone/>
              <a:defRPr sz="135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21493179-5EA4-604B-A9DF-BDA818F0166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33362" y="1093767"/>
            <a:ext cx="8677274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50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Primary Titl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00C30676-2257-45ED-3071-8F49A5255BC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24926" y="277419"/>
            <a:ext cx="844617" cy="394888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98C61F55-7AD9-5E3C-B966-7F221043897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8093234" y="6293801"/>
            <a:ext cx="825739" cy="37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2958048"/>
      </p:ext>
    </p:extLst>
  </p:cSld>
  <p:clrMapOvr>
    <a:masterClrMapping/>
  </p:clrMapOvr>
  <p:transition spd="slow">
    <p:push dir="u"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dvanced Char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A6D4E593-FDCC-D14E-9C5E-5F309E415C26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3170419" y="1093768"/>
            <a:ext cx="5740219" cy="49100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/>
            </a:lvl1pPr>
          </a:lstStyle>
          <a:p>
            <a:r>
              <a:rPr lang="en-JP"/>
              <a:t>Insert Chart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EF65D74B-37DA-0D46-8B56-9B362C84E6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3362" y="3178298"/>
            <a:ext cx="2813975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35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itl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BF5F6A26-5AAA-884F-A319-DE9881530AA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3362" y="3575905"/>
            <a:ext cx="2813975" cy="2427950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28588" indent="-128588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 sz="1050" b="0">
                <a:solidFill>
                  <a:schemeClr val="tx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ext.</a:t>
            </a:r>
          </a:p>
        </p:txBody>
      </p:sp>
      <p:sp>
        <p:nvSpPr>
          <p:cNvPr id="13" name="タイトル プレースホルダ 1">
            <a:extLst>
              <a:ext uri="{FF2B5EF4-FFF2-40B4-BE49-F238E27FC236}">
                <a16:creationId xmlns:a16="http://schemas.microsoft.com/office/drawing/2014/main" id="{2256F400-EDA8-7F44-BF13-278518497C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7455190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AC2B0AC-7801-6C42-BA03-0669DC118159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4" name="スライド番号プレースホルダ 5">
            <a:extLst>
              <a:ext uri="{FF2B5EF4-FFF2-40B4-BE49-F238E27FC236}">
                <a16:creationId xmlns:a16="http://schemas.microsoft.com/office/drawing/2014/main" id="{71FCF96E-3BB8-0745-B029-6B6BE42912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914108"/>
            <a:fld id="{E9B57936-92EF-4126-AE48-1D9D36D15E98}" type="slidenum">
              <a:rPr lang="ja-JP" altLang="en-US" smtClean="0"/>
              <a:pPr defTabSz="914108"/>
              <a:t>‹#›</a:t>
            </a:fld>
            <a:endParaRPr lang="ja-JP" altLang="en-US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875659DC-941F-AA40-8336-C3B1BF32BA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5375A5A-6A84-7145-B49C-982F8461940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3364" y="1491374"/>
            <a:ext cx="2813974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/>
            </a:lvl1pPr>
            <a:lvl2pPr marL="342801" indent="0">
              <a:buNone/>
              <a:defRPr sz="1350" b="1"/>
            </a:lvl2pPr>
            <a:lvl3pPr marL="685612" indent="0">
              <a:buNone/>
              <a:defRPr sz="1350" b="1"/>
            </a:lvl3pPr>
            <a:lvl4pPr marL="1028414" indent="0">
              <a:buNone/>
              <a:defRPr sz="1350" b="1"/>
            </a:lvl4pPr>
            <a:lvl5pPr marL="1371218" indent="0">
              <a:buNone/>
              <a:defRPr sz="135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5F7E9041-544E-3547-AC30-65F55E91E1E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33363" y="1093767"/>
            <a:ext cx="2813974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50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Primary Titl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8EA8FF0-4182-D24E-F7F9-1B768F9B5C8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24926" y="277419"/>
            <a:ext cx="844617" cy="394888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F8326FE7-9691-9CA8-A423-5F16037F4F5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8093234" y="6293801"/>
            <a:ext cx="825739" cy="37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8382129"/>
      </p:ext>
    </p:extLst>
  </p:cSld>
  <p:clrMapOvr>
    <a:masterClrMapping/>
  </p:clrMapOvr>
  <p:transition spd="slow">
    <p:push dir="u"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dvanced Chart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A6D4E593-FDCC-D14E-9C5E-5F309E415C26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231917" y="3076287"/>
            <a:ext cx="4281488" cy="29384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/>
            </a:lvl1pPr>
          </a:lstStyle>
          <a:p>
            <a:r>
              <a:rPr lang="en-JP"/>
              <a:t>Insert Chart</a:t>
            </a:r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F1FC7466-185A-8B44-ABF0-5410C1127700}"/>
              </a:ext>
            </a:extLst>
          </p:cNvPr>
          <p:cNvSpPr>
            <a:spLocks noGrp="1"/>
          </p:cNvSpPr>
          <p:nvPr>
            <p:ph type="chart" sz="quarter" idx="22" hasCustomPrompt="1"/>
          </p:nvPr>
        </p:nvSpPr>
        <p:spPr>
          <a:xfrm>
            <a:off x="4654627" y="3076287"/>
            <a:ext cx="4281488" cy="29384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/>
            </a:lvl1pPr>
          </a:lstStyle>
          <a:p>
            <a:r>
              <a:rPr lang="en-JP"/>
              <a:t>Insert Chart</a:t>
            </a:r>
          </a:p>
        </p:txBody>
      </p:sp>
      <p:sp>
        <p:nvSpPr>
          <p:cNvPr id="12" name="タイトル プレースホルダ 1">
            <a:extLst>
              <a:ext uri="{FF2B5EF4-FFF2-40B4-BE49-F238E27FC236}">
                <a16:creationId xmlns:a16="http://schemas.microsoft.com/office/drawing/2014/main" id="{906CE02B-33D8-B048-A73D-781A3402C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7455190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679FB0B-7616-F04F-9B4C-586869A82E96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2" name="スライド番号プレースホルダ 5">
            <a:extLst>
              <a:ext uri="{FF2B5EF4-FFF2-40B4-BE49-F238E27FC236}">
                <a16:creationId xmlns:a16="http://schemas.microsoft.com/office/drawing/2014/main" id="{8AFBB1AB-19B7-1347-93F8-D14235DD23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914108"/>
            <a:fld id="{E9B57936-92EF-4126-AE48-1D9D36D15E98}" type="slidenum">
              <a:rPr lang="ja-JP" altLang="en-US" smtClean="0"/>
              <a:pPr defTabSz="914108"/>
              <a:t>‹#›</a:t>
            </a:fld>
            <a:endParaRPr lang="ja-JP" altLang="en-US"/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1C168495-CA79-E440-A93B-B87B3674835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6F06E4B-A978-4E46-AE6C-67B54F7E34D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3363" y="1491374"/>
            <a:ext cx="8702752" cy="1464957"/>
          </a:xfrm>
        </p:spPr>
        <p:txBody>
          <a:bodyPr tIns="0" rIns="0" bIns="0" numCol="2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/>
            </a:lvl1pPr>
            <a:lvl2pPr marL="342801" indent="0">
              <a:buNone/>
              <a:defRPr sz="1350" b="1"/>
            </a:lvl2pPr>
            <a:lvl3pPr marL="685612" indent="0">
              <a:buNone/>
              <a:defRPr sz="1350" b="1"/>
            </a:lvl3pPr>
            <a:lvl4pPr marL="1028414" indent="0">
              <a:buNone/>
              <a:defRPr sz="1350" b="1"/>
            </a:lvl4pPr>
            <a:lvl5pPr marL="1371218" indent="0">
              <a:buNone/>
              <a:defRPr sz="135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3FF373A1-4E48-6C48-A075-153436CF76D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33362" y="1093767"/>
            <a:ext cx="8702752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50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Primary Titl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1DE3CA87-67F2-B835-DC78-D274143B60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24926" y="277419"/>
            <a:ext cx="844617" cy="394888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C77F05F3-048F-DD45-56A9-6BECC8F626F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8093234" y="6293801"/>
            <a:ext cx="825739" cy="37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724361"/>
      </p:ext>
    </p:extLst>
  </p:cSld>
  <p:clrMapOvr>
    <a:masterClrMapping/>
  </p:clrMapOvr>
  <p:transition spd="slow">
    <p:push dir="u"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dvanced Chart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A6D4E593-FDCC-D14E-9C5E-5F309E415C26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231918" y="3076287"/>
            <a:ext cx="2818358" cy="295367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/>
            </a:lvl1pPr>
          </a:lstStyle>
          <a:p>
            <a:r>
              <a:rPr lang="en-JP"/>
              <a:t>Insert Chart</a:t>
            </a:r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8D9BD23C-1777-C442-B4B0-BADF450483EA}"/>
              </a:ext>
            </a:extLst>
          </p:cNvPr>
          <p:cNvSpPr>
            <a:spLocks noGrp="1"/>
          </p:cNvSpPr>
          <p:nvPr>
            <p:ph type="chart" sz="quarter" idx="22" hasCustomPrompt="1"/>
          </p:nvPr>
        </p:nvSpPr>
        <p:spPr>
          <a:xfrm>
            <a:off x="3162821" y="3076287"/>
            <a:ext cx="2818358" cy="295367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/>
            </a:lvl1pPr>
          </a:lstStyle>
          <a:p>
            <a:r>
              <a:rPr lang="en-JP"/>
              <a:t>Insert Chart</a:t>
            </a:r>
          </a:p>
        </p:txBody>
      </p:sp>
      <p:sp>
        <p:nvSpPr>
          <p:cNvPr id="11" name="Chart Placeholder 7">
            <a:extLst>
              <a:ext uri="{FF2B5EF4-FFF2-40B4-BE49-F238E27FC236}">
                <a16:creationId xmlns:a16="http://schemas.microsoft.com/office/drawing/2014/main" id="{2D7D413C-2FF1-204A-83C6-B7426603B7C2}"/>
              </a:ext>
            </a:extLst>
          </p:cNvPr>
          <p:cNvSpPr>
            <a:spLocks noGrp="1"/>
          </p:cNvSpPr>
          <p:nvPr>
            <p:ph type="chart" sz="quarter" idx="23" hasCustomPrompt="1"/>
          </p:nvPr>
        </p:nvSpPr>
        <p:spPr>
          <a:xfrm>
            <a:off x="6092281" y="3076287"/>
            <a:ext cx="2818358" cy="295367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/>
            </a:lvl1pPr>
          </a:lstStyle>
          <a:p>
            <a:r>
              <a:rPr lang="en-JP"/>
              <a:t>Insert Chart</a:t>
            </a:r>
          </a:p>
        </p:txBody>
      </p:sp>
      <p:sp>
        <p:nvSpPr>
          <p:cNvPr id="17" name="タイトル プレースホルダ 1">
            <a:extLst>
              <a:ext uri="{FF2B5EF4-FFF2-40B4-BE49-F238E27FC236}">
                <a16:creationId xmlns:a16="http://schemas.microsoft.com/office/drawing/2014/main" id="{2FFB1535-D35E-D242-B225-DDF1C53BB8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7455190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EFC8CB7-67E9-8A46-B53F-F34ACE18BE87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5" name="スライド番号プレースホルダ 5">
            <a:extLst>
              <a:ext uri="{FF2B5EF4-FFF2-40B4-BE49-F238E27FC236}">
                <a16:creationId xmlns:a16="http://schemas.microsoft.com/office/drawing/2014/main" id="{5EB1023E-4E73-AD49-83B0-D7B458250C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914108"/>
            <a:fld id="{E9B57936-92EF-4126-AE48-1D9D36D15E98}" type="slidenum">
              <a:rPr lang="ja-JP" altLang="en-US" smtClean="0"/>
              <a:pPr defTabSz="914108"/>
              <a:t>‹#›</a:t>
            </a:fld>
            <a:endParaRPr lang="ja-JP" altLang="en-US"/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4942DB0C-137A-4E4C-B926-77CEECC512A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D1171B1-AEC6-164D-8FE0-E0B9353A55B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3363" y="1491374"/>
            <a:ext cx="8677274" cy="1464957"/>
          </a:xfrm>
        </p:spPr>
        <p:txBody>
          <a:bodyPr tIns="0" rIns="0" bIns="0" numCol="2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/>
            </a:lvl1pPr>
            <a:lvl2pPr marL="342801" indent="0">
              <a:buNone/>
              <a:defRPr sz="1350" b="1"/>
            </a:lvl2pPr>
            <a:lvl3pPr marL="685612" indent="0">
              <a:buNone/>
              <a:defRPr sz="1350" b="1"/>
            </a:lvl3pPr>
            <a:lvl4pPr marL="1028414" indent="0">
              <a:buNone/>
              <a:defRPr sz="1350" b="1"/>
            </a:lvl4pPr>
            <a:lvl5pPr marL="1371218" indent="0">
              <a:buNone/>
              <a:defRPr sz="135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6C4AA1F-8B09-5544-9C70-388A6E2940C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33362" y="1093767"/>
            <a:ext cx="8677274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50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Primary Titl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3EA51E5-CE76-1D09-5293-93AC4F5BCF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24926" y="277419"/>
            <a:ext cx="844617" cy="394888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DD104C88-B9AB-0AF3-FC6E-68D4DE759C7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8093234" y="6293801"/>
            <a:ext cx="825739" cy="37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8279899"/>
      </p:ext>
    </p:extLst>
  </p:cSld>
  <p:clrMapOvr>
    <a:masterClrMapping/>
  </p:clrMapOvr>
  <p:transition spd="slow">
    <p:push dir="u"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A5DA52-BBAF-EA48-AEC6-EA08F428CF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5029" y="371960"/>
            <a:ext cx="8693944" cy="5642761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2250"/>
            </a:lvl1pPr>
          </a:lstStyle>
          <a:p>
            <a:pPr lvl="0"/>
            <a:r>
              <a:rPr lang="en-US"/>
              <a:t>Blank slide</a:t>
            </a:r>
            <a:endParaRPr lang="en-JP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666045D-3AEC-ACDD-6A45-0ED3BAECBF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093234" y="6293801"/>
            <a:ext cx="825739" cy="37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3249335"/>
      </p:ext>
    </p:extLst>
  </p:cSld>
  <p:clrMapOvr>
    <a:masterClrMapping/>
  </p:clrMapOvr>
  <p:transition spd="slow">
    <p:push dir="u"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D&amp;T 1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3363" y="1102386"/>
            <a:ext cx="8677275" cy="5328857"/>
          </a:xfrm>
          <a:prstGeom prst="rect">
            <a:avLst/>
          </a:prstGeom>
        </p:spPr>
        <p:txBody>
          <a:bodyPr tIns="0" rIns="0" bIns="0" numCol="1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a one-column layout. Click to add content</a:t>
            </a:r>
          </a:p>
        </p:txBody>
      </p:sp>
      <p:sp>
        <p:nvSpPr>
          <p:cNvPr id="22" name="タイトル プレースホルダ 1">
            <a:extLst>
              <a:ext uri="{FF2B5EF4-FFF2-40B4-BE49-F238E27FC236}">
                <a16:creationId xmlns:a16="http://schemas.microsoft.com/office/drawing/2014/main" id="{86D2E5B8-9E2B-DB46-A55A-5F26569C4F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7455190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20" name="スライド番号プレースホルダ 5">
            <a:extLst>
              <a:ext uri="{FF2B5EF4-FFF2-40B4-BE49-F238E27FC236}">
                <a16:creationId xmlns:a16="http://schemas.microsoft.com/office/drawing/2014/main" id="{51A4825E-63A1-564F-BC3A-FBC167ECE5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914108"/>
            <a:fld id="{E9B57936-92EF-4126-AE48-1D9D36D15E98}" type="slidenum">
              <a:rPr lang="ja-JP" altLang="en-US" smtClean="0"/>
              <a:pPr defTabSz="914108"/>
              <a:t>‹#›</a:t>
            </a:fld>
            <a:endParaRPr lang="ja-JP" alt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CF9CDB0-5730-E246-B31F-F5963CF8EFDC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44EB3013-FCB4-1B4E-A9F2-FD57CF727CC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DEBA354-D33F-280A-864C-953E643E58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24926" y="277419"/>
            <a:ext cx="844617" cy="394888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CD9EF559-8D7B-75BC-E677-F95BD332CCC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8093234" y="6293801"/>
            <a:ext cx="825739" cy="37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14358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D&amp;T Section 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E02383DA-65B3-044E-9E1B-2CC00A0B1CC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6048" y="2428659"/>
            <a:ext cx="3266048" cy="2279130"/>
          </a:xfrm>
          <a:prstGeom prst="rect">
            <a:avLst/>
          </a:prstGeom>
        </p:spPr>
        <p:txBody>
          <a:bodyPr wrap="square" lIns="0" tIns="0" rIns="0" bIns="0" anchor="ctr" anchorCtr="0">
            <a:normAutofit/>
          </a:bodyPr>
          <a:lstStyle>
            <a:lvl1pPr>
              <a:lnSpc>
                <a:spcPts val="2850"/>
              </a:lnSpc>
              <a:defRPr sz="2700" b="1" i="0" baseline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/>
              <a:t>Click to add section titl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2F9C2FE-7E43-3948-92F0-0CEA804BDBFE}"/>
              </a:ext>
            </a:extLst>
          </p:cNvPr>
          <p:cNvSpPr/>
          <p:nvPr/>
        </p:nvSpPr>
        <p:spPr>
          <a:xfrm>
            <a:off x="561754" y="2214633"/>
            <a:ext cx="72900" cy="27071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350">
              <a:solidFill>
                <a:srgbClr val="FFFFFF"/>
              </a:solidFill>
            </a:endParaRPr>
          </a:p>
        </p:txBody>
      </p:sp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46656F8F-0621-5F47-BF80-4A4E365A2D9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981906" y="-1"/>
            <a:ext cx="4174367" cy="5902961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64472"/>
              <a:gd name="connsiteY0" fmla="*/ 0 h 6630428"/>
              <a:gd name="connsiteX1" fmla="*/ 11864472 w 11864472"/>
              <a:gd name="connsiteY1" fmla="*/ 188353 h 6630428"/>
              <a:gd name="connsiteX2" fmla="*/ 11855613 w 11864472"/>
              <a:gd name="connsiteY2" fmla="*/ 6628774 h 6630428"/>
              <a:gd name="connsiteX3" fmla="*/ 579722 w 11864472"/>
              <a:gd name="connsiteY3" fmla="*/ 6630428 h 6630428"/>
              <a:gd name="connsiteX4" fmla="*/ 0 w 11864472"/>
              <a:gd name="connsiteY4" fmla="*/ 6050706 h 6630428"/>
              <a:gd name="connsiteX5" fmla="*/ 0 w 11864472"/>
              <a:gd name="connsiteY5" fmla="*/ 0 h 6630428"/>
              <a:gd name="connsiteX0" fmla="*/ 0 w 11864472"/>
              <a:gd name="connsiteY0" fmla="*/ 13527 h 6643955"/>
              <a:gd name="connsiteX1" fmla="*/ 11864472 w 11864472"/>
              <a:gd name="connsiteY1" fmla="*/ 0 h 6643955"/>
              <a:gd name="connsiteX2" fmla="*/ 11855613 w 11864472"/>
              <a:gd name="connsiteY2" fmla="*/ 6642301 h 6643955"/>
              <a:gd name="connsiteX3" fmla="*/ 579722 w 11864472"/>
              <a:gd name="connsiteY3" fmla="*/ 6643955 h 6643955"/>
              <a:gd name="connsiteX4" fmla="*/ 0 w 11864472"/>
              <a:gd name="connsiteY4" fmla="*/ 6064233 h 6643955"/>
              <a:gd name="connsiteX5" fmla="*/ 0 w 11864472"/>
              <a:gd name="connsiteY5" fmla="*/ 13527 h 6643955"/>
              <a:gd name="connsiteX0" fmla="*/ 0 w 11864472"/>
              <a:gd name="connsiteY0" fmla="*/ 1319813 h 6643955"/>
              <a:gd name="connsiteX1" fmla="*/ 11864472 w 11864472"/>
              <a:gd name="connsiteY1" fmla="*/ 0 h 6643955"/>
              <a:gd name="connsiteX2" fmla="*/ 11855613 w 11864472"/>
              <a:gd name="connsiteY2" fmla="*/ 6642301 h 6643955"/>
              <a:gd name="connsiteX3" fmla="*/ 579722 w 11864472"/>
              <a:gd name="connsiteY3" fmla="*/ 6643955 h 6643955"/>
              <a:gd name="connsiteX4" fmla="*/ 0 w 11864472"/>
              <a:gd name="connsiteY4" fmla="*/ 6064233 h 6643955"/>
              <a:gd name="connsiteX5" fmla="*/ 0 w 11864472"/>
              <a:gd name="connsiteY5" fmla="*/ 1319813 h 6643955"/>
              <a:gd name="connsiteX0" fmla="*/ 0 w 11864472"/>
              <a:gd name="connsiteY0" fmla="*/ 13527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13527 h 5337669"/>
              <a:gd name="connsiteX0" fmla="*/ 0 w 11864472"/>
              <a:gd name="connsiteY0" fmla="*/ 1652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1652 h 5337669"/>
              <a:gd name="connsiteX0" fmla="*/ 0 w 11864472"/>
              <a:gd name="connsiteY0" fmla="*/ 2201927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2201927 h 5337669"/>
              <a:gd name="connsiteX0" fmla="*/ 0 w 11864472"/>
              <a:gd name="connsiteY0" fmla="*/ 1652 h 3137394"/>
              <a:gd name="connsiteX1" fmla="*/ 11864472 w 11864472"/>
              <a:gd name="connsiteY1" fmla="*/ 0 h 3137394"/>
              <a:gd name="connsiteX2" fmla="*/ 11855613 w 11864472"/>
              <a:gd name="connsiteY2" fmla="*/ 3135740 h 3137394"/>
              <a:gd name="connsiteX3" fmla="*/ 579722 w 11864472"/>
              <a:gd name="connsiteY3" fmla="*/ 3137394 h 3137394"/>
              <a:gd name="connsiteX4" fmla="*/ 0 w 11864472"/>
              <a:gd name="connsiteY4" fmla="*/ 2557672 h 3137394"/>
              <a:gd name="connsiteX5" fmla="*/ 0 w 11864472"/>
              <a:gd name="connsiteY5" fmla="*/ 1652 h 3137394"/>
              <a:gd name="connsiteX0" fmla="*/ 0 w 11864472"/>
              <a:gd name="connsiteY0" fmla="*/ 0 h 3420555"/>
              <a:gd name="connsiteX1" fmla="*/ 11864472 w 11864472"/>
              <a:gd name="connsiteY1" fmla="*/ 283161 h 3420555"/>
              <a:gd name="connsiteX2" fmla="*/ 11855613 w 11864472"/>
              <a:gd name="connsiteY2" fmla="*/ 3418901 h 3420555"/>
              <a:gd name="connsiteX3" fmla="*/ 579722 w 11864472"/>
              <a:gd name="connsiteY3" fmla="*/ 3420555 h 3420555"/>
              <a:gd name="connsiteX4" fmla="*/ 0 w 11864472"/>
              <a:gd name="connsiteY4" fmla="*/ 2840833 h 3420555"/>
              <a:gd name="connsiteX5" fmla="*/ 0 w 11864472"/>
              <a:gd name="connsiteY5" fmla="*/ 0 h 3420555"/>
              <a:gd name="connsiteX0" fmla="*/ 0 w 11864472"/>
              <a:gd name="connsiteY0" fmla="*/ 1652 h 3422207"/>
              <a:gd name="connsiteX1" fmla="*/ 11864472 w 11864472"/>
              <a:gd name="connsiteY1" fmla="*/ 0 h 3422207"/>
              <a:gd name="connsiteX2" fmla="*/ 11855613 w 11864472"/>
              <a:gd name="connsiteY2" fmla="*/ 3420553 h 3422207"/>
              <a:gd name="connsiteX3" fmla="*/ 579722 w 11864472"/>
              <a:gd name="connsiteY3" fmla="*/ 3422207 h 3422207"/>
              <a:gd name="connsiteX4" fmla="*/ 0 w 11864472"/>
              <a:gd name="connsiteY4" fmla="*/ 2842485 h 3422207"/>
              <a:gd name="connsiteX5" fmla="*/ 0 w 11864472"/>
              <a:gd name="connsiteY5" fmla="*/ 1652 h 3422207"/>
              <a:gd name="connsiteX0" fmla="*/ 0 w 11855613"/>
              <a:gd name="connsiteY0" fmla="*/ 0 h 3420555"/>
              <a:gd name="connsiteX1" fmla="*/ 11834492 w 11855613"/>
              <a:gd name="connsiteY1" fmla="*/ 58309 h 3420555"/>
              <a:gd name="connsiteX2" fmla="*/ 11855613 w 11855613"/>
              <a:gd name="connsiteY2" fmla="*/ 3418901 h 3420555"/>
              <a:gd name="connsiteX3" fmla="*/ 579722 w 11855613"/>
              <a:gd name="connsiteY3" fmla="*/ 3420555 h 3420555"/>
              <a:gd name="connsiteX4" fmla="*/ 0 w 11855613"/>
              <a:gd name="connsiteY4" fmla="*/ 2840833 h 3420555"/>
              <a:gd name="connsiteX5" fmla="*/ 0 w 11855613"/>
              <a:gd name="connsiteY5" fmla="*/ 0 h 3420555"/>
              <a:gd name="connsiteX0" fmla="*/ 0 w 11855613"/>
              <a:gd name="connsiteY0" fmla="*/ 1652 h 3362246"/>
              <a:gd name="connsiteX1" fmla="*/ 11834492 w 11855613"/>
              <a:gd name="connsiteY1" fmla="*/ 0 h 3362246"/>
              <a:gd name="connsiteX2" fmla="*/ 11855613 w 11855613"/>
              <a:gd name="connsiteY2" fmla="*/ 3360592 h 3362246"/>
              <a:gd name="connsiteX3" fmla="*/ 579722 w 11855613"/>
              <a:gd name="connsiteY3" fmla="*/ 3362246 h 3362246"/>
              <a:gd name="connsiteX4" fmla="*/ 0 w 11855613"/>
              <a:gd name="connsiteY4" fmla="*/ 2782524 h 3362246"/>
              <a:gd name="connsiteX5" fmla="*/ 0 w 11855613"/>
              <a:gd name="connsiteY5" fmla="*/ 1652 h 3362246"/>
              <a:gd name="connsiteX0" fmla="*/ 0 w 11864473"/>
              <a:gd name="connsiteY0" fmla="*/ 0 h 3360594"/>
              <a:gd name="connsiteX1" fmla="*/ 11864473 w 11864473"/>
              <a:gd name="connsiteY1" fmla="*/ 13338 h 3360594"/>
              <a:gd name="connsiteX2" fmla="*/ 11855613 w 11864473"/>
              <a:gd name="connsiteY2" fmla="*/ 3358940 h 3360594"/>
              <a:gd name="connsiteX3" fmla="*/ 579722 w 11864473"/>
              <a:gd name="connsiteY3" fmla="*/ 3360594 h 3360594"/>
              <a:gd name="connsiteX4" fmla="*/ 0 w 11864473"/>
              <a:gd name="connsiteY4" fmla="*/ 2780872 h 3360594"/>
              <a:gd name="connsiteX5" fmla="*/ 0 w 11864473"/>
              <a:gd name="connsiteY5" fmla="*/ 0 h 3360594"/>
              <a:gd name="connsiteX0" fmla="*/ 0 w 11864473"/>
              <a:gd name="connsiteY0" fmla="*/ 1652 h 3362246"/>
              <a:gd name="connsiteX1" fmla="*/ 11864473 w 11864473"/>
              <a:gd name="connsiteY1" fmla="*/ 0 h 3362246"/>
              <a:gd name="connsiteX2" fmla="*/ 11855613 w 11864473"/>
              <a:gd name="connsiteY2" fmla="*/ 3360592 h 3362246"/>
              <a:gd name="connsiteX3" fmla="*/ 579722 w 11864473"/>
              <a:gd name="connsiteY3" fmla="*/ 3362246 h 3362246"/>
              <a:gd name="connsiteX4" fmla="*/ 0 w 11864473"/>
              <a:gd name="connsiteY4" fmla="*/ 2782524 h 3362246"/>
              <a:gd name="connsiteX5" fmla="*/ 0 w 11864473"/>
              <a:gd name="connsiteY5" fmla="*/ 1652 h 3362246"/>
              <a:gd name="connsiteX0" fmla="*/ 0 w 11855629"/>
              <a:gd name="connsiteY0" fmla="*/ 1652 h 3362246"/>
              <a:gd name="connsiteX1" fmla="*/ 11459359 w 11855629"/>
              <a:gd name="connsiteY1" fmla="*/ 0 h 3362246"/>
              <a:gd name="connsiteX2" fmla="*/ 11855613 w 11855629"/>
              <a:gd name="connsiteY2" fmla="*/ 3360592 h 3362246"/>
              <a:gd name="connsiteX3" fmla="*/ 579722 w 11855629"/>
              <a:gd name="connsiteY3" fmla="*/ 3362246 h 3362246"/>
              <a:gd name="connsiteX4" fmla="*/ 0 w 11855629"/>
              <a:gd name="connsiteY4" fmla="*/ 2782524 h 3362246"/>
              <a:gd name="connsiteX5" fmla="*/ 0 w 11855629"/>
              <a:gd name="connsiteY5" fmla="*/ 1652 h 3362246"/>
              <a:gd name="connsiteX0" fmla="*/ 0 w 11459359"/>
              <a:gd name="connsiteY0" fmla="*/ 1652 h 3362246"/>
              <a:gd name="connsiteX1" fmla="*/ 11459359 w 11459359"/>
              <a:gd name="connsiteY1" fmla="*/ 0 h 3362246"/>
              <a:gd name="connsiteX2" fmla="*/ 11438924 w 11459359"/>
              <a:gd name="connsiteY2" fmla="*/ 3360592 h 3362246"/>
              <a:gd name="connsiteX3" fmla="*/ 579722 w 11459359"/>
              <a:gd name="connsiteY3" fmla="*/ 3362246 h 3362246"/>
              <a:gd name="connsiteX4" fmla="*/ 0 w 11459359"/>
              <a:gd name="connsiteY4" fmla="*/ 2782524 h 3362246"/>
              <a:gd name="connsiteX5" fmla="*/ 0 w 11459359"/>
              <a:gd name="connsiteY5" fmla="*/ 1652 h 3362246"/>
              <a:gd name="connsiteX0" fmla="*/ 0 w 11459359"/>
              <a:gd name="connsiteY0" fmla="*/ 1652 h 3362246"/>
              <a:gd name="connsiteX1" fmla="*/ 11459359 w 11459359"/>
              <a:gd name="connsiteY1" fmla="*/ 0 h 3362246"/>
              <a:gd name="connsiteX2" fmla="*/ 11438924 w 11459359"/>
              <a:gd name="connsiteY2" fmla="*/ 3360592 h 3362246"/>
              <a:gd name="connsiteX3" fmla="*/ 1584742 w 11459359"/>
              <a:gd name="connsiteY3" fmla="*/ 3362246 h 3362246"/>
              <a:gd name="connsiteX4" fmla="*/ 0 w 11459359"/>
              <a:gd name="connsiteY4" fmla="*/ 2782524 h 3362246"/>
              <a:gd name="connsiteX5" fmla="*/ 0 w 11459359"/>
              <a:gd name="connsiteY5" fmla="*/ 1652 h 3362246"/>
              <a:gd name="connsiteX0" fmla="*/ 0 w 11459359"/>
              <a:gd name="connsiteY0" fmla="*/ 1652 h 3360592"/>
              <a:gd name="connsiteX1" fmla="*/ 11459359 w 11459359"/>
              <a:gd name="connsiteY1" fmla="*/ 0 h 3360592"/>
              <a:gd name="connsiteX2" fmla="*/ 11438924 w 11459359"/>
              <a:gd name="connsiteY2" fmla="*/ 3360592 h 3360592"/>
              <a:gd name="connsiteX3" fmla="*/ 1188396 w 11459359"/>
              <a:gd name="connsiteY3" fmla="*/ 3358591 h 3360592"/>
              <a:gd name="connsiteX4" fmla="*/ 0 w 11459359"/>
              <a:gd name="connsiteY4" fmla="*/ 2782524 h 3360592"/>
              <a:gd name="connsiteX5" fmla="*/ 0 w 11459359"/>
              <a:gd name="connsiteY5" fmla="*/ 1652 h 3360592"/>
              <a:gd name="connsiteX0" fmla="*/ 0 w 11459359"/>
              <a:gd name="connsiteY0" fmla="*/ 1652 h 3360592"/>
              <a:gd name="connsiteX1" fmla="*/ 11459359 w 11459359"/>
              <a:gd name="connsiteY1" fmla="*/ 0 h 3360592"/>
              <a:gd name="connsiteX2" fmla="*/ 11438924 w 11459359"/>
              <a:gd name="connsiteY2" fmla="*/ 3360592 h 3360592"/>
              <a:gd name="connsiteX3" fmla="*/ 1188396 w 11459359"/>
              <a:gd name="connsiteY3" fmla="*/ 3358591 h 3360592"/>
              <a:gd name="connsiteX4" fmla="*/ 0 w 11459359"/>
              <a:gd name="connsiteY4" fmla="*/ 2946995 h 3360592"/>
              <a:gd name="connsiteX5" fmla="*/ 0 w 11459359"/>
              <a:gd name="connsiteY5" fmla="*/ 1652 h 3360592"/>
              <a:gd name="connsiteX0" fmla="*/ 0 w 11459359"/>
              <a:gd name="connsiteY0" fmla="*/ 1652 h 3360592"/>
              <a:gd name="connsiteX1" fmla="*/ 11459359 w 11459359"/>
              <a:gd name="connsiteY1" fmla="*/ 0 h 3360592"/>
              <a:gd name="connsiteX2" fmla="*/ 11438924 w 11459359"/>
              <a:gd name="connsiteY2" fmla="*/ 3360592 h 3360592"/>
              <a:gd name="connsiteX3" fmla="*/ 1188396 w 11459359"/>
              <a:gd name="connsiteY3" fmla="*/ 3358591 h 3360592"/>
              <a:gd name="connsiteX4" fmla="*/ 0 w 11459359"/>
              <a:gd name="connsiteY4" fmla="*/ 2946995 h 3360592"/>
              <a:gd name="connsiteX5" fmla="*/ 0 w 11459359"/>
              <a:gd name="connsiteY5" fmla="*/ 1652 h 3360592"/>
              <a:gd name="connsiteX0" fmla="*/ 0 w 11459359"/>
              <a:gd name="connsiteY0" fmla="*/ 1652 h 3360592"/>
              <a:gd name="connsiteX1" fmla="*/ 11459359 w 11459359"/>
              <a:gd name="connsiteY1" fmla="*/ 0 h 3360592"/>
              <a:gd name="connsiteX2" fmla="*/ 11438924 w 11459359"/>
              <a:gd name="connsiteY2" fmla="*/ 3360592 h 3360592"/>
              <a:gd name="connsiteX3" fmla="*/ 1188396 w 11459359"/>
              <a:gd name="connsiteY3" fmla="*/ 3358591 h 3360592"/>
              <a:gd name="connsiteX4" fmla="*/ 0 w 11459359"/>
              <a:gd name="connsiteY4" fmla="*/ 2946995 h 3360592"/>
              <a:gd name="connsiteX5" fmla="*/ 0 w 11459359"/>
              <a:gd name="connsiteY5" fmla="*/ 1652 h 3360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59359" h="3360592">
                <a:moveTo>
                  <a:pt x="0" y="1652"/>
                </a:moveTo>
                <a:lnTo>
                  <a:pt x="11459359" y="0"/>
                </a:lnTo>
                <a:cubicBezTo>
                  <a:pt x="11456406" y="1115201"/>
                  <a:pt x="11441877" y="2245391"/>
                  <a:pt x="11438924" y="3360592"/>
                </a:cubicBezTo>
                <a:lnTo>
                  <a:pt x="1188396" y="3358591"/>
                </a:lnTo>
                <a:cubicBezTo>
                  <a:pt x="848612" y="3356903"/>
                  <a:pt x="0" y="3267167"/>
                  <a:pt x="0" y="2946995"/>
                </a:cubicBezTo>
                <a:lnTo>
                  <a:pt x="0" y="1652"/>
                </a:lnTo>
                <a:close/>
              </a:path>
            </a:pathLst>
          </a:custGeom>
          <a:noFill/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P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0413E2C6-1271-22E4-3022-42B831E549E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084899" y="6303556"/>
            <a:ext cx="825739" cy="37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124472"/>
      </p:ext>
    </p:extLst>
  </p:cSld>
  <p:clrMapOvr>
    <a:masterClrMapping/>
  </p:clrMapOvr>
  <p:transition spd="slow">
    <p:push dir="u"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2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531" y="1102386"/>
            <a:ext cx="8274845" cy="5328857"/>
          </a:xfrm>
          <a:prstGeom prst="rect">
            <a:avLst/>
          </a:prstGeom>
        </p:spPr>
        <p:txBody>
          <a:bodyPr tIns="0" rIns="0" bIns="0" numCol="2" spcCol="54000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a two-column layout. Click to add content. </a:t>
            </a:r>
          </a:p>
        </p:txBody>
      </p:sp>
      <p:sp>
        <p:nvSpPr>
          <p:cNvPr id="19" name="Footer Placeholder 8">
            <a:extLst>
              <a:ext uri="{FF2B5EF4-FFF2-40B4-BE49-F238E27FC236}">
                <a16:creationId xmlns:a16="http://schemas.microsoft.com/office/drawing/2014/main" id="{CDA06C55-0643-C148-AAB1-C4BB26FD7B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24538" y="6523002"/>
            <a:ext cx="3086100" cy="19613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="1" spc="75" baseline="0">
                <a:solidFill>
                  <a:schemeClr val="tx1"/>
                </a:solidFill>
              </a:defRPr>
            </a:lvl1pPr>
          </a:lstStyle>
          <a:p>
            <a:r>
              <a:rPr lang="en-JP"/>
              <a:t> </a:t>
            </a:r>
          </a:p>
        </p:txBody>
      </p:sp>
      <p:sp>
        <p:nvSpPr>
          <p:cNvPr id="22" name="タイトル プレースホルダ 1">
            <a:extLst>
              <a:ext uri="{FF2B5EF4-FFF2-40B4-BE49-F238E27FC236}">
                <a16:creationId xmlns:a16="http://schemas.microsoft.com/office/drawing/2014/main" id="{86D2E5B8-9E2B-DB46-A55A-5F26569C4F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7455190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Two-column layout. Click to add title</a:t>
            </a:r>
            <a:endParaRPr kumimoji="1" lang="ja-JP" alt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49634AC-7DDA-D44D-88DB-5850289DD643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0" name="スライド番号プレースホルダ 5">
            <a:extLst>
              <a:ext uri="{FF2B5EF4-FFF2-40B4-BE49-F238E27FC236}">
                <a16:creationId xmlns:a16="http://schemas.microsoft.com/office/drawing/2014/main" id="{E22A984C-7436-8C4C-83C8-F2AD675920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914108"/>
            <a:fld id="{E9B57936-92EF-4126-AE48-1D9D36D15E98}" type="slidenum">
              <a:rPr lang="ja-JP" altLang="en-US" smtClean="0"/>
              <a:pPr defTabSz="914108"/>
              <a:t>‹#›</a:t>
            </a:fld>
            <a:endParaRPr lang="ja-JP" altLang="en-US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0A6720AD-4FA4-A146-AEEB-A4E558BAA3E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pic>
        <p:nvPicPr>
          <p:cNvPr id="9" name="Picture 8" descr="Takeda">
            <a:extLst>
              <a:ext uri="{FF2B5EF4-FFF2-40B4-BE49-F238E27FC236}">
                <a16:creationId xmlns:a16="http://schemas.microsoft.com/office/drawing/2014/main" id="{3E969A1B-DAA0-4A49-B59D-DC2DD537D83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3373" y="-1615"/>
            <a:ext cx="1272174" cy="94078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7961B6A8-44B6-E06B-F5CA-6B1C2D28471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7898319" y="6110930"/>
            <a:ext cx="825739" cy="37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130702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1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3363" y="1102386"/>
            <a:ext cx="8677275" cy="5328857"/>
          </a:xfrm>
          <a:prstGeom prst="rect">
            <a:avLst/>
          </a:prstGeom>
        </p:spPr>
        <p:txBody>
          <a:bodyPr tIns="0" rIns="0" bIns="0" numCol="1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a one-column layout. Click to add content</a:t>
            </a:r>
          </a:p>
        </p:txBody>
      </p:sp>
      <p:sp>
        <p:nvSpPr>
          <p:cNvPr id="19" name="Footer Placeholder 8">
            <a:extLst>
              <a:ext uri="{FF2B5EF4-FFF2-40B4-BE49-F238E27FC236}">
                <a16:creationId xmlns:a16="http://schemas.microsoft.com/office/drawing/2014/main" id="{CDA06C55-0643-C148-AAB1-C4BB26FD7B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24538" y="6523002"/>
            <a:ext cx="3086100" cy="19613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="1" spc="75" baseline="0">
                <a:solidFill>
                  <a:schemeClr val="tx1"/>
                </a:solidFill>
              </a:defRPr>
            </a:lvl1pPr>
          </a:lstStyle>
          <a:p>
            <a:r>
              <a:rPr lang="en-JP"/>
              <a:t> </a:t>
            </a:r>
          </a:p>
        </p:txBody>
      </p:sp>
      <p:pic>
        <p:nvPicPr>
          <p:cNvPr id="14" name="Picture 13" descr="Takeda">
            <a:extLst>
              <a:ext uri="{FF2B5EF4-FFF2-40B4-BE49-F238E27FC236}">
                <a16:creationId xmlns:a16="http://schemas.microsoft.com/office/drawing/2014/main" id="{A75F5BF7-D49E-8A49-AE81-CB31E57D5A7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9748" y="-1615"/>
            <a:ext cx="1272174" cy="940780"/>
          </a:xfrm>
          <a:prstGeom prst="rect">
            <a:avLst/>
          </a:prstGeom>
        </p:spPr>
      </p:pic>
      <p:sp>
        <p:nvSpPr>
          <p:cNvPr id="22" name="タイトル プレースホルダ 1">
            <a:extLst>
              <a:ext uri="{FF2B5EF4-FFF2-40B4-BE49-F238E27FC236}">
                <a16:creationId xmlns:a16="http://schemas.microsoft.com/office/drawing/2014/main" id="{86D2E5B8-9E2B-DB46-A55A-5F26569C4F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7455190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20" name="スライド番号プレースホルダ 5">
            <a:extLst>
              <a:ext uri="{FF2B5EF4-FFF2-40B4-BE49-F238E27FC236}">
                <a16:creationId xmlns:a16="http://schemas.microsoft.com/office/drawing/2014/main" id="{51A4825E-63A1-564F-BC3A-FBC167ECE5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914108"/>
            <a:fld id="{E9B57936-92EF-4126-AE48-1D9D36D15E98}" type="slidenum">
              <a:rPr lang="ja-JP" altLang="en-US" smtClean="0"/>
              <a:pPr defTabSz="914108"/>
              <a:t>‹#›</a:t>
            </a:fld>
            <a:endParaRPr lang="ja-JP" alt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CF9CDB0-5730-E246-B31F-F5963CF8EFDC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44EB3013-FCB4-1B4E-A9F2-FD57CF727CC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C1E3BBDF-08A6-700F-4484-3EAFF2A861E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8093234" y="6024880"/>
            <a:ext cx="825739" cy="479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0481391"/>
      </p:ext>
    </p:extLst>
  </p:cSld>
  <p:clrMapOvr>
    <a:masterClrMapping/>
  </p:clrMapOvr>
  <p:transition spd="slow">
    <p:push dir="u"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>
            <a:extLst>
              <a:ext uri="{FF2B5EF4-FFF2-40B4-BE49-F238E27FC236}">
                <a16:creationId xmlns:a16="http://schemas.microsoft.com/office/drawing/2014/main" id="{82B9CECE-7D8F-8C4A-AFC6-A963B1F05594}"/>
              </a:ext>
            </a:extLst>
          </p:cNvPr>
          <p:cNvSpPr/>
          <p:nvPr/>
        </p:nvSpPr>
        <p:spPr>
          <a:xfrm>
            <a:off x="0" y="61264"/>
            <a:ext cx="191386" cy="8490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350">
              <a:solidFill>
                <a:schemeClr val="accent1"/>
              </a:solidFill>
            </a:endParaRP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1E79114-5B74-9547-8292-DAB8965D43F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1754" y="506"/>
            <a:ext cx="8594519" cy="3428494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64472"/>
              <a:gd name="connsiteY0" fmla="*/ 0 h 6630428"/>
              <a:gd name="connsiteX1" fmla="*/ 11864472 w 11864472"/>
              <a:gd name="connsiteY1" fmla="*/ 188353 h 6630428"/>
              <a:gd name="connsiteX2" fmla="*/ 11855613 w 11864472"/>
              <a:gd name="connsiteY2" fmla="*/ 6628774 h 6630428"/>
              <a:gd name="connsiteX3" fmla="*/ 579722 w 11864472"/>
              <a:gd name="connsiteY3" fmla="*/ 6630428 h 6630428"/>
              <a:gd name="connsiteX4" fmla="*/ 0 w 11864472"/>
              <a:gd name="connsiteY4" fmla="*/ 6050706 h 6630428"/>
              <a:gd name="connsiteX5" fmla="*/ 0 w 11864472"/>
              <a:gd name="connsiteY5" fmla="*/ 0 h 6630428"/>
              <a:gd name="connsiteX0" fmla="*/ 0 w 11864472"/>
              <a:gd name="connsiteY0" fmla="*/ 13527 h 6643955"/>
              <a:gd name="connsiteX1" fmla="*/ 11864472 w 11864472"/>
              <a:gd name="connsiteY1" fmla="*/ 0 h 6643955"/>
              <a:gd name="connsiteX2" fmla="*/ 11855613 w 11864472"/>
              <a:gd name="connsiteY2" fmla="*/ 6642301 h 6643955"/>
              <a:gd name="connsiteX3" fmla="*/ 579722 w 11864472"/>
              <a:gd name="connsiteY3" fmla="*/ 6643955 h 6643955"/>
              <a:gd name="connsiteX4" fmla="*/ 0 w 11864472"/>
              <a:gd name="connsiteY4" fmla="*/ 6064233 h 6643955"/>
              <a:gd name="connsiteX5" fmla="*/ 0 w 11864472"/>
              <a:gd name="connsiteY5" fmla="*/ 13527 h 6643955"/>
              <a:gd name="connsiteX0" fmla="*/ 0 w 11864472"/>
              <a:gd name="connsiteY0" fmla="*/ 1319813 h 6643955"/>
              <a:gd name="connsiteX1" fmla="*/ 11864472 w 11864472"/>
              <a:gd name="connsiteY1" fmla="*/ 0 h 6643955"/>
              <a:gd name="connsiteX2" fmla="*/ 11855613 w 11864472"/>
              <a:gd name="connsiteY2" fmla="*/ 6642301 h 6643955"/>
              <a:gd name="connsiteX3" fmla="*/ 579722 w 11864472"/>
              <a:gd name="connsiteY3" fmla="*/ 6643955 h 6643955"/>
              <a:gd name="connsiteX4" fmla="*/ 0 w 11864472"/>
              <a:gd name="connsiteY4" fmla="*/ 6064233 h 6643955"/>
              <a:gd name="connsiteX5" fmla="*/ 0 w 11864472"/>
              <a:gd name="connsiteY5" fmla="*/ 1319813 h 6643955"/>
              <a:gd name="connsiteX0" fmla="*/ 0 w 11864472"/>
              <a:gd name="connsiteY0" fmla="*/ 13527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13527 h 5337669"/>
              <a:gd name="connsiteX0" fmla="*/ 0 w 11864472"/>
              <a:gd name="connsiteY0" fmla="*/ 1652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1652 h 5337669"/>
              <a:gd name="connsiteX0" fmla="*/ 0 w 11864472"/>
              <a:gd name="connsiteY0" fmla="*/ 2201927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2201927 h 5337669"/>
              <a:gd name="connsiteX0" fmla="*/ 0 w 11864472"/>
              <a:gd name="connsiteY0" fmla="*/ 1652 h 3137394"/>
              <a:gd name="connsiteX1" fmla="*/ 11864472 w 11864472"/>
              <a:gd name="connsiteY1" fmla="*/ 0 h 3137394"/>
              <a:gd name="connsiteX2" fmla="*/ 11855613 w 11864472"/>
              <a:gd name="connsiteY2" fmla="*/ 3135740 h 3137394"/>
              <a:gd name="connsiteX3" fmla="*/ 579722 w 11864472"/>
              <a:gd name="connsiteY3" fmla="*/ 3137394 h 3137394"/>
              <a:gd name="connsiteX4" fmla="*/ 0 w 11864472"/>
              <a:gd name="connsiteY4" fmla="*/ 2557672 h 3137394"/>
              <a:gd name="connsiteX5" fmla="*/ 0 w 11864472"/>
              <a:gd name="connsiteY5" fmla="*/ 1652 h 3137394"/>
              <a:gd name="connsiteX0" fmla="*/ 0 w 11864472"/>
              <a:gd name="connsiteY0" fmla="*/ 0 h 3420555"/>
              <a:gd name="connsiteX1" fmla="*/ 11864472 w 11864472"/>
              <a:gd name="connsiteY1" fmla="*/ 283161 h 3420555"/>
              <a:gd name="connsiteX2" fmla="*/ 11855613 w 11864472"/>
              <a:gd name="connsiteY2" fmla="*/ 3418901 h 3420555"/>
              <a:gd name="connsiteX3" fmla="*/ 579722 w 11864472"/>
              <a:gd name="connsiteY3" fmla="*/ 3420555 h 3420555"/>
              <a:gd name="connsiteX4" fmla="*/ 0 w 11864472"/>
              <a:gd name="connsiteY4" fmla="*/ 2840833 h 3420555"/>
              <a:gd name="connsiteX5" fmla="*/ 0 w 11864472"/>
              <a:gd name="connsiteY5" fmla="*/ 0 h 3420555"/>
              <a:gd name="connsiteX0" fmla="*/ 0 w 11864472"/>
              <a:gd name="connsiteY0" fmla="*/ 1652 h 3422207"/>
              <a:gd name="connsiteX1" fmla="*/ 11864472 w 11864472"/>
              <a:gd name="connsiteY1" fmla="*/ 0 h 3422207"/>
              <a:gd name="connsiteX2" fmla="*/ 11855613 w 11864472"/>
              <a:gd name="connsiteY2" fmla="*/ 3420553 h 3422207"/>
              <a:gd name="connsiteX3" fmla="*/ 579722 w 11864472"/>
              <a:gd name="connsiteY3" fmla="*/ 3422207 h 3422207"/>
              <a:gd name="connsiteX4" fmla="*/ 0 w 11864472"/>
              <a:gd name="connsiteY4" fmla="*/ 2842485 h 3422207"/>
              <a:gd name="connsiteX5" fmla="*/ 0 w 11864472"/>
              <a:gd name="connsiteY5" fmla="*/ 1652 h 3422207"/>
              <a:gd name="connsiteX0" fmla="*/ 0 w 11855613"/>
              <a:gd name="connsiteY0" fmla="*/ 0 h 3420555"/>
              <a:gd name="connsiteX1" fmla="*/ 11834492 w 11855613"/>
              <a:gd name="connsiteY1" fmla="*/ 58309 h 3420555"/>
              <a:gd name="connsiteX2" fmla="*/ 11855613 w 11855613"/>
              <a:gd name="connsiteY2" fmla="*/ 3418901 h 3420555"/>
              <a:gd name="connsiteX3" fmla="*/ 579722 w 11855613"/>
              <a:gd name="connsiteY3" fmla="*/ 3420555 h 3420555"/>
              <a:gd name="connsiteX4" fmla="*/ 0 w 11855613"/>
              <a:gd name="connsiteY4" fmla="*/ 2840833 h 3420555"/>
              <a:gd name="connsiteX5" fmla="*/ 0 w 11855613"/>
              <a:gd name="connsiteY5" fmla="*/ 0 h 3420555"/>
              <a:gd name="connsiteX0" fmla="*/ 0 w 11855613"/>
              <a:gd name="connsiteY0" fmla="*/ 1652 h 3362246"/>
              <a:gd name="connsiteX1" fmla="*/ 11834492 w 11855613"/>
              <a:gd name="connsiteY1" fmla="*/ 0 h 3362246"/>
              <a:gd name="connsiteX2" fmla="*/ 11855613 w 11855613"/>
              <a:gd name="connsiteY2" fmla="*/ 3360592 h 3362246"/>
              <a:gd name="connsiteX3" fmla="*/ 579722 w 11855613"/>
              <a:gd name="connsiteY3" fmla="*/ 3362246 h 3362246"/>
              <a:gd name="connsiteX4" fmla="*/ 0 w 11855613"/>
              <a:gd name="connsiteY4" fmla="*/ 2782524 h 3362246"/>
              <a:gd name="connsiteX5" fmla="*/ 0 w 11855613"/>
              <a:gd name="connsiteY5" fmla="*/ 1652 h 3362246"/>
              <a:gd name="connsiteX0" fmla="*/ 0 w 11864473"/>
              <a:gd name="connsiteY0" fmla="*/ 0 h 3360594"/>
              <a:gd name="connsiteX1" fmla="*/ 11864473 w 11864473"/>
              <a:gd name="connsiteY1" fmla="*/ 13338 h 3360594"/>
              <a:gd name="connsiteX2" fmla="*/ 11855613 w 11864473"/>
              <a:gd name="connsiteY2" fmla="*/ 3358940 h 3360594"/>
              <a:gd name="connsiteX3" fmla="*/ 579722 w 11864473"/>
              <a:gd name="connsiteY3" fmla="*/ 3360594 h 3360594"/>
              <a:gd name="connsiteX4" fmla="*/ 0 w 11864473"/>
              <a:gd name="connsiteY4" fmla="*/ 2780872 h 3360594"/>
              <a:gd name="connsiteX5" fmla="*/ 0 w 11864473"/>
              <a:gd name="connsiteY5" fmla="*/ 0 h 3360594"/>
              <a:gd name="connsiteX0" fmla="*/ 0 w 11864473"/>
              <a:gd name="connsiteY0" fmla="*/ 1652 h 3362246"/>
              <a:gd name="connsiteX1" fmla="*/ 11864473 w 11864473"/>
              <a:gd name="connsiteY1" fmla="*/ 0 h 3362246"/>
              <a:gd name="connsiteX2" fmla="*/ 11855613 w 11864473"/>
              <a:gd name="connsiteY2" fmla="*/ 3360592 h 3362246"/>
              <a:gd name="connsiteX3" fmla="*/ 579722 w 11864473"/>
              <a:gd name="connsiteY3" fmla="*/ 3362246 h 3362246"/>
              <a:gd name="connsiteX4" fmla="*/ 0 w 11864473"/>
              <a:gd name="connsiteY4" fmla="*/ 2782524 h 3362246"/>
              <a:gd name="connsiteX5" fmla="*/ 0 w 11864473"/>
              <a:gd name="connsiteY5" fmla="*/ 1652 h 3362246"/>
              <a:gd name="connsiteX0" fmla="*/ 0 w 11855629"/>
              <a:gd name="connsiteY0" fmla="*/ 1652 h 3362246"/>
              <a:gd name="connsiteX1" fmla="*/ 11459359 w 11855629"/>
              <a:gd name="connsiteY1" fmla="*/ 0 h 3362246"/>
              <a:gd name="connsiteX2" fmla="*/ 11855613 w 11855629"/>
              <a:gd name="connsiteY2" fmla="*/ 3360592 h 3362246"/>
              <a:gd name="connsiteX3" fmla="*/ 579722 w 11855629"/>
              <a:gd name="connsiteY3" fmla="*/ 3362246 h 3362246"/>
              <a:gd name="connsiteX4" fmla="*/ 0 w 11855629"/>
              <a:gd name="connsiteY4" fmla="*/ 2782524 h 3362246"/>
              <a:gd name="connsiteX5" fmla="*/ 0 w 11855629"/>
              <a:gd name="connsiteY5" fmla="*/ 1652 h 3362246"/>
              <a:gd name="connsiteX0" fmla="*/ 0 w 11459359"/>
              <a:gd name="connsiteY0" fmla="*/ 1652 h 3362246"/>
              <a:gd name="connsiteX1" fmla="*/ 11459359 w 11459359"/>
              <a:gd name="connsiteY1" fmla="*/ 0 h 3362246"/>
              <a:gd name="connsiteX2" fmla="*/ 11438924 w 11459359"/>
              <a:gd name="connsiteY2" fmla="*/ 3360592 h 3362246"/>
              <a:gd name="connsiteX3" fmla="*/ 579722 w 11459359"/>
              <a:gd name="connsiteY3" fmla="*/ 3362246 h 3362246"/>
              <a:gd name="connsiteX4" fmla="*/ 0 w 11459359"/>
              <a:gd name="connsiteY4" fmla="*/ 2782524 h 3362246"/>
              <a:gd name="connsiteX5" fmla="*/ 0 w 11459359"/>
              <a:gd name="connsiteY5" fmla="*/ 1652 h 3362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59359" h="3362246">
                <a:moveTo>
                  <a:pt x="0" y="1652"/>
                </a:moveTo>
                <a:lnTo>
                  <a:pt x="11459359" y="0"/>
                </a:lnTo>
                <a:cubicBezTo>
                  <a:pt x="11456406" y="1115201"/>
                  <a:pt x="11441877" y="2245391"/>
                  <a:pt x="11438924" y="3360592"/>
                </a:cubicBezTo>
                <a:lnTo>
                  <a:pt x="579722" y="3362246"/>
                </a:lnTo>
                <a:cubicBezTo>
                  <a:pt x="259550" y="3362246"/>
                  <a:pt x="0" y="3102696"/>
                  <a:pt x="0" y="2782524"/>
                </a:cubicBezTo>
                <a:lnTo>
                  <a:pt x="0" y="1652"/>
                </a:lnTo>
                <a:close/>
              </a:path>
            </a:pathLst>
          </a:custGeom>
          <a:noFill/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P"/>
          </a:p>
        </p:txBody>
      </p:sp>
      <p:pic>
        <p:nvPicPr>
          <p:cNvPr id="18" name="Picture 17" descr="Takeda">
            <a:extLst>
              <a:ext uri="{FF2B5EF4-FFF2-40B4-BE49-F238E27FC236}">
                <a16:creationId xmlns:a16="http://schemas.microsoft.com/office/drawing/2014/main" id="{5F9376FC-2A9F-C644-AD88-C6E1B65B4D9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2887" y="3362752"/>
            <a:ext cx="1688783" cy="1248865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9F5E8E0A-41D4-8346-9248-0B9AAC7123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6047" y="3956817"/>
            <a:ext cx="5774753" cy="1015681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ts val="2850"/>
              </a:lnSpc>
              <a:defRPr sz="2700" b="1" i="0" baseline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/>
              <a:t>Click to Add </a:t>
            </a:r>
            <a:br>
              <a:rPr lang="en-GB"/>
            </a:br>
            <a:r>
              <a:rPr lang="en-GB"/>
              <a:t>Tit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5A63B8E-5554-A04E-B4C5-97ECEE58B6CC}"/>
              </a:ext>
            </a:extLst>
          </p:cNvPr>
          <p:cNvSpPr/>
          <p:nvPr/>
        </p:nvSpPr>
        <p:spPr>
          <a:xfrm>
            <a:off x="561754" y="3764031"/>
            <a:ext cx="72900" cy="27071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350">
              <a:solidFill>
                <a:srgbClr val="FFFFFF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C2637423-F180-3943-B758-C8CCFA816E0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78941" y="6357944"/>
            <a:ext cx="1468934" cy="117462"/>
          </a:xfrm>
          <a:prstGeom prst="rect">
            <a:avLst/>
          </a:prstGeom>
        </p:spPr>
      </p:pic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F7327E43-4F43-914D-BE65-DB0ADB5A5E1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96046" y="5256032"/>
            <a:ext cx="5774753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itle of Position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4A23AA60-6137-8841-B2ED-51B2F2E5C1B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6046" y="5515046"/>
            <a:ext cx="5774753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Department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B4FEAB2-22C6-3446-B4D2-5B610A729BC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6046" y="5769533"/>
            <a:ext cx="5774753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4085F378-E668-A648-B7B1-8C76C309ED6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96046" y="4997511"/>
            <a:ext cx="5774753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C1E31EF6-BED5-C14F-94AD-4E5C55B8551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96046" y="6027353"/>
            <a:ext cx="5774753" cy="234001"/>
          </a:xfrm>
        </p:spPr>
        <p:txBody>
          <a:bodyPr tIns="0" rIns="0" bIns="0" anchor="ctr" anchorCtr="0">
            <a:noAutofit/>
          </a:bodyPr>
          <a:lstStyle>
            <a:lvl1pPr marL="0" marR="0" indent="0" algn="l" defTabSz="68561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 sz="600"/>
            </a:lvl1pPr>
            <a:lvl2pPr>
              <a:defRPr sz="6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marL="0" marR="0" lvl="0" indent="0" algn="l" defTabSz="68561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rivate and confidential.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31613203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orient="horz" pos="4065">
          <p15:clr>
            <a:srgbClr val="FBAE40"/>
          </p15:clr>
        </p15:guide>
        <p15:guide id="2" orient="horz" pos="2364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E12AAF9A-66E2-4300-A9F2-4AF91211CD9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6048" y="2303031"/>
            <a:ext cx="3266048" cy="1125969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ts val="2850"/>
              </a:lnSpc>
              <a:defRPr sz="2700" b="1" i="0" baseline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858392C-47EF-423E-96BA-D77DBA9D426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99885" y="376181"/>
            <a:ext cx="4744900" cy="6108535"/>
          </a:xfrm>
          <a:custGeom>
            <a:avLst/>
            <a:gdLst>
              <a:gd name="connsiteX0" fmla="*/ 0 w 6462532"/>
              <a:gd name="connsiteY0" fmla="*/ 3052818 h 6105636"/>
              <a:gd name="connsiteX1" fmla="*/ 3052818 w 6462532"/>
              <a:gd name="connsiteY1" fmla="*/ 0 h 6105636"/>
              <a:gd name="connsiteX2" fmla="*/ 3409714 w 6462532"/>
              <a:gd name="connsiteY2" fmla="*/ 0 h 6105636"/>
              <a:gd name="connsiteX3" fmla="*/ 6462532 w 6462532"/>
              <a:gd name="connsiteY3" fmla="*/ 3052818 h 6105636"/>
              <a:gd name="connsiteX4" fmla="*/ 6462532 w 6462532"/>
              <a:gd name="connsiteY4" fmla="*/ 3052818 h 6105636"/>
              <a:gd name="connsiteX5" fmla="*/ 3409714 w 6462532"/>
              <a:gd name="connsiteY5" fmla="*/ 6105636 h 6105636"/>
              <a:gd name="connsiteX6" fmla="*/ 3052818 w 6462532"/>
              <a:gd name="connsiteY6" fmla="*/ 6105636 h 6105636"/>
              <a:gd name="connsiteX7" fmla="*/ 0 w 6462532"/>
              <a:gd name="connsiteY7" fmla="*/ 3052818 h 6105636"/>
              <a:gd name="connsiteX0" fmla="*/ 0 w 7309764"/>
              <a:gd name="connsiteY0" fmla="*/ 3052818 h 6105636"/>
              <a:gd name="connsiteX1" fmla="*/ 3052818 w 7309764"/>
              <a:gd name="connsiteY1" fmla="*/ 0 h 6105636"/>
              <a:gd name="connsiteX2" fmla="*/ 6592752 w 7309764"/>
              <a:gd name="connsiteY2" fmla="*/ 46298 h 6105636"/>
              <a:gd name="connsiteX3" fmla="*/ 6462532 w 7309764"/>
              <a:gd name="connsiteY3" fmla="*/ 3052818 h 6105636"/>
              <a:gd name="connsiteX4" fmla="*/ 6462532 w 7309764"/>
              <a:gd name="connsiteY4" fmla="*/ 3052818 h 6105636"/>
              <a:gd name="connsiteX5" fmla="*/ 3409714 w 7309764"/>
              <a:gd name="connsiteY5" fmla="*/ 6105636 h 6105636"/>
              <a:gd name="connsiteX6" fmla="*/ 3052818 w 7309764"/>
              <a:gd name="connsiteY6" fmla="*/ 6105636 h 6105636"/>
              <a:gd name="connsiteX7" fmla="*/ 0 w 7309764"/>
              <a:gd name="connsiteY7" fmla="*/ 3052818 h 6105636"/>
              <a:gd name="connsiteX0" fmla="*/ 0 w 7309764"/>
              <a:gd name="connsiteY0" fmla="*/ 3060215 h 6113033"/>
              <a:gd name="connsiteX1" fmla="*/ 3052818 w 7309764"/>
              <a:gd name="connsiteY1" fmla="*/ 7397 h 6113033"/>
              <a:gd name="connsiteX2" fmla="*/ 6592752 w 7309764"/>
              <a:gd name="connsiteY2" fmla="*/ 53695 h 6113033"/>
              <a:gd name="connsiteX3" fmla="*/ 6462532 w 7309764"/>
              <a:gd name="connsiteY3" fmla="*/ 3060215 h 6113033"/>
              <a:gd name="connsiteX4" fmla="*/ 6462532 w 7309764"/>
              <a:gd name="connsiteY4" fmla="*/ 3060215 h 6113033"/>
              <a:gd name="connsiteX5" fmla="*/ 3409714 w 7309764"/>
              <a:gd name="connsiteY5" fmla="*/ 6113033 h 6113033"/>
              <a:gd name="connsiteX6" fmla="*/ 3052818 w 7309764"/>
              <a:gd name="connsiteY6" fmla="*/ 6113033 h 6113033"/>
              <a:gd name="connsiteX7" fmla="*/ 0 w 7309764"/>
              <a:gd name="connsiteY7" fmla="*/ 3060215 h 6113033"/>
              <a:gd name="connsiteX0" fmla="*/ 0 w 7309764"/>
              <a:gd name="connsiteY0" fmla="*/ 3052818 h 6105636"/>
              <a:gd name="connsiteX1" fmla="*/ 3052818 w 7309764"/>
              <a:gd name="connsiteY1" fmla="*/ 0 h 6105636"/>
              <a:gd name="connsiteX2" fmla="*/ 6592752 w 7309764"/>
              <a:gd name="connsiteY2" fmla="*/ 46298 h 6105636"/>
              <a:gd name="connsiteX3" fmla="*/ 6462532 w 7309764"/>
              <a:gd name="connsiteY3" fmla="*/ 3052818 h 6105636"/>
              <a:gd name="connsiteX4" fmla="*/ 6462532 w 7309764"/>
              <a:gd name="connsiteY4" fmla="*/ 3052818 h 6105636"/>
              <a:gd name="connsiteX5" fmla="*/ 3409714 w 7309764"/>
              <a:gd name="connsiteY5" fmla="*/ 6105636 h 6105636"/>
              <a:gd name="connsiteX6" fmla="*/ 3052818 w 7309764"/>
              <a:gd name="connsiteY6" fmla="*/ 6105636 h 6105636"/>
              <a:gd name="connsiteX7" fmla="*/ 0 w 7309764"/>
              <a:gd name="connsiteY7" fmla="*/ 3052818 h 6105636"/>
              <a:gd name="connsiteX0" fmla="*/ 0 w 7162978"/>
              <a:gd name="connsiteY0" fmla="*/ 3052818 h 6105636"/>
              <a:gd name="connsiteX1" fmla="*/ 3052818 w 7162978"/>
              <a:gd name="connsiteY1" fmla="*/ 0 h 6105636"/>
              <a:gd name="connsiteX2" fmla="*/ 6395982 w 7162978"/>
              <a:gd name="connsiteY2" fmla="*/ 11574 h 6105636"/>
              <a:gd name="connsiteX3" fmla="*/ 6462532 w 7162978"/>
              <a:gd name="connsiteY3" fmla="*/ 3052818 h 6105636"/>
              <a:gd name="connsiteX4" fmla="*/ 6462532 w 7162978"/>
              <a:gd name="connsiteY4" fmla="*/ 3052818 h 6105636"/>
              <a:gd name="connsiteX5" fmla="*/ 3409714 w 7162978"/>
              <a:gd name="connsiteY5" fmla="*/ 6105636 h 6105636"/>
              <a:gd name="connsiteX6" fmla="*/ 3052818 w 7162978"/>
              <a:gd name="connsiteY6" fmla="*/ 6105636 h 6105636"/>
              <a:gd name="connsiteX7" fmla="*/ 0 w 7162978"/>
              <a:gd name="connsiteY7" fmla="*/ 3052818 h 6105636"/>
              <a:gd name="connsiteX0" fmla="*/ 0 w 7162978"/>
              <a:gd name="connsiteY0" fmla="*/ 3052818 h 6105636"/>
              <a:gd name="connsiteX1" fmla="*/ 3052818 w 7162978"/>
              <a:gd name="connsiteY1" fmla="*/ 0 h 6105636"/>
              <a:gd name="connsiteX2" fmla="*/ 6395982 w 7162978"/>
              <a:gd name="connsiteY2" fmla="*/ 11574 h 6105636"/>
              <a:gd name="connsiteX3" fmla="*/ 6462532 w 7162978"/>
              <a:gd name="connsiteY3" fmla="*/ 3052818 h 6105636"/>
              <a:gd name="connsiteX4" fmla="*/ 6462532 w 7162978"/>
              <a:gd name="connsiteY4" fmla="*/ 3052818 h 6105636"/>
              <a:gd name="connsiteX5" fmla="*/ 3409714 w 7162978"/>
              <a:gd name="connsiteY5" fmla="*/ 6105636 h 6105636"/>
              <a:gd name="connsiteX6" fmla="*/ 3052818 w 7162978"/>
              <a:gd name="connsiteY6" fmla="*/ 6105636 h 6105636"/>
              <a:gd name="connsiteX7" fmla="*/ 0 w 7162978"/>
              <a:gd name="connsiteY7" fmla="*/ 3052818 h 6105636"/>
              <a:gd name="connsiteX0" fmla="*/ 0 w 7162978"/>
              <a:gd name="connsiteY0" fmla="*/ 3052818 h 6105636"/>
              <a:gd name="connsiteX1" fmla="*/ 3052818 w 7162978"/>
              <a:gd name="connsiteY1" fmla="*/ 0 h 6105636"/>
              <a:gd name="connsiteX2" fmla="*/ 6395982 w 7162978"/>
              <a:gd name="connsiteY2" fmla="*/ 11574 h 6105636"/>
              <a:gd name="connsiteX3" fmla="*/ 6462532 w 7162978"/>
              <a:gd name="connsiteY3" fmla="*/ 3052818 h 6105636"/>
              <a:gd name="connsiteX4" fmla="*/ 6462532 w 7162978"/>
              <a:gd name="connsiteY4" fmla="*/ 3052818 h 6105636"/>
              <a:gd name="connsiteX5" fmla="*/ 3409714 w 7162978"/>
              <a:gd name="connsiteY5" fmla="*/ 6105636 h 6105636"/>
              <a:gd name="connsiteX6" fmla="*/ 3052818 w 7162978"/>
              <a:gd name="connsiteY6" fmla="*/ 6105636 h 6105636"/>
              <a:gd name="connsiteX7" fmla="*/ 0 w 7162978"/>
              <a:gd name="connsiteY7" fmla="*/ 3052818 h 6105636"/>
              <a:gd name="connsiteX0" fmla="*/ 0 w 7162978"/>
              <a:gd name="connsiteY0" fmla="*/ 3052818 h 6105636"/>
              <a:gd name="connsiteX1" fmla="*/ 3052818 w 7162978"/>
              <a:gd name="connsiteY1" fmla="*/ 0 h 6105636"/>
              <a:gd name="connsiteX2" fmla="*/ 6395982 w 7162978"/>
              <a:gd name="connsiteY2" fmla="*/ 11574 h 6105636"/>
              <a:gd name="connsiteX3" fmla="*/ 6462532 w 7162978"/>
              <a:gd name="connsiteY3" fmla="*/ 3052818 h 6105636"/>
              <a:gd name="connsiteX4" fmla="*/ 6462532 w 7162978"/>
              <a:gd name="connsiteY4" fmla="*/ 3052818 h 6105636"/>
              <a:gd name="connsiteX5" fmla="*/ 3409714 w 7162978"/>
              <a:gd name="connsiteY5" fmla="*/ 6105636 h 6105636"/>
              <a:gd name="connsiteX6" fmla="*/ 3052818 w 7162978"/>
              <a:gd name="connsiteY6" fmla="*/ 6105636 h 6105636"/>
              <a:gd name="connsiteX7" fmla="*/ 0 w 7162978"/>
              <a:gd name="connsiteY7" fmla="*/ 3052818 h 6105636"/>
              <a:gd name="connsiteX0" fmla="*/ 0 w 6750471"/>
              <a:gd name="connsiteY0" fmla="*/ 3052818 h 6105636"/>
              <a:gd name="connsiteX1" fmla="*/ 3052818 w 6750471"/>
              <a:gd name="connsiteY1" fmla="*/ 0 h 6105636"/>
              <a:gd name="connsiteX2" fmla="*/ 6395982 w 6750471"/>
              <a:gd name="connsiteY2" fmla="*/ 11574 h 6105636"/>
              <a:gd name="connsiteX3" fmla="*/ 6462532 w 6750471"/>
              <a:gd name="connsiteY3" fmla="*/ 3052818 h 6105636"/>
              <a:gd name="connsiteX4" fmla="*/ 6462532 w 6750471"/>
              <a:gd name="connsiteY4" fmla="*/ 3052818 h 6105636"/>
              <a:gd name="connsiteX5" fmla="*/ 3409714 w 6750471"/>
              <a:gd name="connsiteY5" fmla="*/ 6105636 h 6105636"/>
              <a:gd name="connsiteX6" fmla="*/ 3052818 w 6750471"/>
              <a:gd name="connsiteY6" fmla="*/ 6105636 h 6105636"/>
              <a:gd name="connsiteX7" fmla="*/ 0 w 6750471"/>
              <a:gd name="connsiteY7" fmla="*/ 3052818 h 6105636"/>
              <a:gd name="connsiteX0" fmla="*/ 0 w 6462532"/>
              <a:gd name="connsiteY0" fmla="*/ 3052818 h 6105636"/>
              <a:gd name="connsiteX1" fmla="*/ 3052818 w 6462532"/>
              <a:gd name="connsiteY1" fmla="*/ 0 h 6105636"/>
              <a:gd name="connsiteX2" fmla="*/ 6395982 w 6462532"/>
              <a:gd name="connsiteY2" fmla="*/ 11574 h 6105636"/>
              <a:gd name="connsiteX3" fmla="*/ 6462532 w 6462532"/>
              <a:gd name="connsiteY3" fmla="*/ 3052818 h 6105636"/>
              <a:gd name="connsiteX4" fmla="*/ 6462532 w 6462532"/>
              <a:gd name="connsiteY4" fmla="*/ 3052818 h 6105636"/>
              <a:gd name="connsiteX5" fmla="*/ 3409714 w 6462532"/>
              <a:gd name="connsiteY5" fmla="*/ 6105636 h 6105636"/>
              <a:gd name="connsiteX6" fmla="*/ 3052818 w 6462532"/>
              <a:gd name="connsiteY6" fmla="*/ 6105636 h 6105636"/>
              <a:gd name="connsiteX7" fmla="*/ 0 w 6462532"/>
              <a:gd name="connsiteY7" fmla="*/ 3052818 h 6105636"/>
              <a:gd name="connsiteX0" fmla="*/ 0 w 6477004"/>
              <a:gd name="connsiteY0" fmla="*/ 3052819 h 6105637"/>
              <a:gd name="connsiteX1" fmla="*/ 3052818 w 6477004"/>
              <a:gd name="connsiteY1" fmla="*/ 1 h 6105637"/>
              <a:gd name="connsiteX2" fmla="*/ 6477004 w 6477004"/>
              <a:gd name="connsiteY2" fmla="*/ 0 h 6105637"/>
              <a:gd name="connsiteX3" fmla="*/ 6462532 w 6477004"/>
              <a:gd name="connsiteY3" fmla="*/ 3052819 h 6105637"/>
              <a:gd name="connsiteX4" fmla="*/ 6462532 w 6477004"/>
              <a:gd name="connsiteY4" fmla="*/ 3052819 h 6105637"/>
              <a:gd name="connsiteX5" fmla="*/ 3409714 w 6477004"/>
              <a:gd name="connsiteY5" fmla="*/ 6105637 h 6105637"/>
              <a:gd name="connsiteX6" fmla="*/ 3052818 w 6477004"/>
              <a:gd name="connsiteY6" fmla="*/ 6105637 h 6105637"/>
              <a:gd name="connsiteX7" fmla="*/ 0 w 6477004"/>
              <a:gd name="connsiteY7" fmla="*/ 3052819 h 6105637"/>
              <a:gd name="connsiteX0" fmla="*/ 0 w 6477004"/>
              <a:gd name="connsiteY0" fmla="*/ 3052819 h 6105637"/>
              <a:gd name="connsiteX1" fmla="*/ 3052818 w 6477004"/>
              <a:gd name="connsiteY1" fmla="*/ 1 h 6105637"/>
              <a:gd name="connsiteX2" fmla="*/ 6477004 w 6477004"/>
              <a:gd name="connsiteY2" fmla="*/ 0 h 6105637"/>
              <a:gd name="connsiteX3" fmla="*/ 6462532 w 6477004"/>
              <a:gd name="connsiteY3" fmla="*/ 3052819 h 6105637"/>
              <a:gd name="connsiteX4" fmla="*/ 5756477 w 6477004"/>
              <a:gd name="connsiteY4" fmla="*/ 3018095 h 6105637"/>
              <a:gd name="connsiteX5" fmla="*/ 3409714 w 6477004"/>
              <a:gd name="connsiteY5" fmla="*/ 6105637 h 6105637"/>
              <a:gd name="connsiteX6" fmla="*/ 3052818 w 6477004"/>
              <a:gd name="connsiteY6" fmla="*/ 6105637 h 6105637"/>
              <a:gd name="connsiteX7" fmla="*/ 0 w 6477004"/>
              <a:gd name="connsiteY7" fmla="*/ 3052819 h 6105637"/>
              <a:gd name="connsiteX0" fmla="*/ 0 w 6477004"/>
              <a:gd name="connsiteY0" fmla="*/ 3052819 h 6105637"/>
              <a:gd name="connsiteX1" fmla="*/ 3052818 w 6477004"/>
              <a:gd name="connsiteY1" fmla="*/ 1 h 6105637"/>
              <a:gd name="connsiteX2" fmla="*/ 6477004 w 6477004"/>
              <a:gd name="connsiteY2" fmla="*/ 0 h 6105637"/>
              <a:gd name="connsiteX3" fmla="*/ 6462532 w 6477004"/>
              <a:gd name="connsiteY3" fmla="*/ 3052819 h 6105637"/>
              <a:gd name="connsiteX4" fmla="*/ 3409714 w 6477004"/>
              <a:gd name="connsiteY4" fmla="*/ 6105637 h 6105637"/>
              <a:gd name="connsiteX5" fmla="*/ 3052818 w 6477004"/>
              <a:gd name="connsiteY5" fmla="*/ 6105637 h 6105637"/>
              <a:gd name="connsiteX6" fmla="*/ 0 w 6477004"/>
              <a:gd name="connsiteY6" fmla="*/ 3052819 h 6105637"/>
              <a:gd name="connsiteX0" fmla="*/ 0 w 6477004"/>
              <a:gd name="connsiteY0" fmla="*/ 3052819 h 6108535"/>
              <a:gd name="connsiteX1" fmla="*/ 3052818 w 6477004"/>
              <a:gd name="connsiteY1" fmla="*/ 1 h 6108535"/>
              <a:gd name="connsiteX2" fmla="*/ 6477004 w 6477004"/>
              <a:gd name="connsiteY2" fmla="*/ 0 h 6108535"/>
              <a:gd name="connsiteX3" fmla="*/ 6462532 w 6477004"/>
              <a:gd name="connsiteY3" fmla="*/ 6108535 h 6108535"/>
              <a:gd name="connsiteX4" fmla="*/ 3409714 w 6477004"/>
              <a:gd name="connsiteY4" fmla="*/ 6105637 h 6108535"/>
              <a:gd name="connsiteX5" fmla="*/ 3052818 w 6477004"/>
              <a:gd name="connsiteY5" fmla="*/ 6105637 h 6108535"/>
              <a:gd name="connsiteX6" fmla="*/ 0 w 6477004"/>
              <a:gd name="connsiteY6" fmla="*/ 3052819 h 6108535"/>
              <a:gd name="connsiteX0" fmla="*/ 0 w 6477004"/>
              <a:gd name="connsiteY0" fmla="*/ 3052819 h 6108535"/>
              <a:gd name="connsiteX1" fmla="*/ 3052818 w 6477004"/>
              <a:gd name="connsiteY1" fmla="*/ 1 h 6108535"/>
              <a:gd name="connsiteX2" fmla="*/ 6477004 w 6477004"/>
              <a:gd name="connsiteY2" fmla="*/ 0 h 6108535"/>
              <a:gd name="connsiteX3" fmla="*/ 6323635 w 6477004"/>
              <a:gd name="connsiteY3" fmla="*/ 6108535 h 6108535"/>
              <a:gd name="connsiteX4" fmla="*/ 3409714 w 6477004"/>
              <a:gd name="connsiteY4" fmla="*/ 6105637 h 6108535"/>
              <a:gd name="connsiteX5" fmla="*/ 3052818 w 6477004"/>
              <a:gd name="connsiteY5" fmla="*/ 6105637 h 6108535"/>
              <a:gd name="connsiteX6" fmla="*/ 0 w 6477004"/>
              <a:gd name="connsiteY6" fmla="*/ 3052819 h 6108535"/>
              <a:gd name="connsiteX0" fmla="*/ 0 w 6326533"/>
              <a:gd name="connsiteY0" fmla="*/ 3052819 h 6108535"/>
              <a:gd name="connsiteX1" fmla="*/ 3052818 w 6326533"/>
              <a:gd name="connsiteY1" fmla="*/ 1 h 6108535"/>
              <a:gd name="connsiteX2" fmla="*/ 6326533 w 6326533"/>
              <a:gd name="connsiteY2" fmla="*/ 0 h 6108535"/>
              <a:gd name="connsiteX3" fmla="*/ 6323635 w 6326533"/>
              <a:gd name="connsiteY3" fmla="*/ 6108535 h 6108535"/>
              <a:gd name="connsiteX4" fmla="*/ 3409714 w 6326533"/>
              <a:gd name="connsiteY4" fmla="*/ 6105637 h 6108535"/>
              <a:gd name="connsiteX5" fmla="*/ 3052818 w 6326533"/>
              <a:gd name="connsiteY5" fmla="*/ 6105637 h 6108535"/>
              <a:gd name="connsiteX6" fmla="*/ 0 w 6326533"/>
              <a:gd name="connsiteY6" fmla="*/ 3052819 h 61085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26533" h="6108535">
                <a:moveTo>
                  <a:pt x="0" y="3052819"/>
                </a:moveTo>
                <a:cubicBezTo>
                  <a:pt x="0" y="1366794"/>
                  <a:pt x="1366793" y="1"/>
                  <a:pt x="3052818" y="1"/>
                </a:cubicBezTo>
                <a:lnTo>
                  <a:pt x="6326533" y="0"/>
                </a:lnTo>
                <a:lnTo>
                  <a:pt x="6323635" y="6108535"/>
                </a:lnTo>
                <a:lnTo>
                  <a:pt x="3409714" y="6105637"/>
                </a:lnTo>
                <a:lnTo>
                  <a:pt x="3052818" y="6105637"/>
                </a:lnTo>
                <a:cubicBezTo>
                  <a:pt x="1366793" y="6105637"/>
                  <a:pt x="0" y="4738844"/>
                  <a:pt x="0" y="3052819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54D449B-5F77-48F2-8C1D-356C9F33240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6047" y="6367253"/>
            <a:ext cx="1468934" cy="117462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E7FA0D55-848A-46DF-9722-7FD5E4193949}"/>
              </a:ext>
            </a:extLst>
          </p:cNvPr>
          <p:cNvSpPr/>
          <p:nvPr/>
        </p:nvSpPr>
        <p:spPr>
          <a:xfrm>
            <a:off x="561754" y="2110246"/>
            <a:ext cx="72900" cy="27071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350">
              <a:solidFill>
                <a:srgbClr val="FFFFFF"/>
              </a:solidFill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68B40A66-C4A7-4370-92F2-F3382E11E6C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6047" y="3835927"/>
            <a:ext cx="3266049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itle of Position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79C782D-AD1D-4D13-ACC3-B57D633277D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6047" y="4094941"/>
            <a:ext cx="3266049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Department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1FAE674-CCEE-4F3D-A20A-9D555487220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96047" y="4349428"/>
            <a:ext cx="3266049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02109D3-F1F3-400D-9EB0-0A42CDD74B6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96047" y="3577406"/>
            <a:ext cx="3266049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</p:txBody>
      </p:sp>
    </p:spTree>
    <p:extLst>
      <p:ext uri="{BB962C8B-B14F-4D97-AF65-F5344CB8AC3E}">
        <p14:creationId xmlns:p14="http://schemas.microsoft.com/office/powerpoint/2010/main" val="2661602217"/>
      </p:ext>
    </p:extLst>
  </p:cSld>
  <p:clrMapOvr>
    <a:masterClrMapping/>
  </p:clrMapOvr>
  <p:transition spd="slow">
    <p:push dir="u"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Page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E02383DA-65B3-044E-9E1B-2CC00A0B1CC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6047" y="2303031"/>
            <a:ext cx="5146613" cy="1125969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ts val="2850"/>
              </a:lnSpc>
              <a:defRPr sz="2700" b="1" i="0" baseline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2F9C2FE-7E43-3948-92F0-0CEA804BDBFE}"/>
              </a:ext>
            </a:extLst>
          </p:cNvPr>
          <p:cNvSpPr/>
          <p:nvPr/>
        </p:nvSpPr>
        <p:spPr>
          <a:xfrm>
            <a:off x="561754" y="2110246"/>
            <a:ext cx="72900" cy="27071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350">
              <a:solidFill>
                <a:srgbClr val="FFFFFF"/>
              </a:solidFill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F239D86-1AC3-1D48-9675-22CEFBB263F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6047" y="3835927"/>
            <a:ext cx="5146613" cy="2630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itle of Position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91BF6710-27B9-2444-8317-2C64F0D3084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6047" y="4094941"/>
            <a:ext cx="5146613" cy="2630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Department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669B2D41-B11D-9D45-B189-F838AC342B0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96047" y="4349428"/>
            <a:ext cx="5146613" cy="2630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D7467C81-9D88-4140-B42C-28DFB564647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96047" y="3577406"/>
            <a:ext cx="5146613" cy="2630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6819C41-2A79-B54D-9C44-C619DA694E6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78941" y="6357944"/>
            <a:ext cx="1468934" cy="11746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D2794BD-1A0D-7D48-855D-469111926BF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2887" y="-8600"/>
            <a:ext cx="1688783" cy="1248865"/>
          </a:xfrm>
          <a:prstGeom prst="rect">
            <a:avLst/>
          </a:prstGeom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9909778-A51F-784D-ACA4-EC5DBA48BE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96047" y="6319956"/>
            <a:ext cx="5774753" cy="234001"/>
          </a:xfrm>
        </p:spPr>
        <p:txBody>
          <a:bodyPr tIns="0" rIns="0" bIns="0" anchor="ctr" anchorCtr="0">
            <a:noAutofit/>
          </a:bodyPr>
          <a:lstStyle>
            <a:lvl1pPr marL="0" marR="0" indent="0" algn="l" defTabSz="68561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 sz="600"/>
            </a:lvl1pPr>
            <a:lvl2pPr>
              <a:defRPr sz="6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marL="0" marR="0" lvl="0" indent="0" algn="l" defTabSz="68561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rivate and confidential.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1790856423"/>
      </p:ext>
    </p:extLst>
  </p:cSld>
  <p:clrMapOvr>
    <a:masterClrMapping/>
  </p:clrMapOvr>
  <p:transition spd="slow">
    <p:push dir="u"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1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531" y="1102386"/>
            <a:ext cx="8274845" cy="5328857"/>
          </a:xfrm>
          <a:prstGeom prst="rect">
            <a:avLst/>
          </a:prstGeom>
        </p:spPr>
        <p:txBody>
          <a:bodyPr tIns="0" rIns="0" bIns="0" numCol="1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a one-column layout. Click to add content</a:t>
            </a:r>
          </a:p>
        </p:txBody>
      </p:sp>
      <p:sp>
        <p:nvSpPr>
          <p:cNvPr id="19" name="Footer Placeholder 8">
            <a:extLst>
              <a:ext uri="{FF2B5EF4-FFF2-40B4-BE49-F238E27FC236}">
                <a16:creationId xmlns:a16="http://schemas.microsoft.com/office/drawing/2014/main" id="{CDA06C55-0643-C148-AAB1-C4BB26FD7B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24538" y="6523002"/>
            <a:ext cx="3086100" cy="19613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="1" spc="75" baseline="0">
                <a:solidFill>
                  <a:schemeClr val="tx1"/>
                </a:solidFill>
              </a:defRPr>
            </a:lvl1pPr>
          </a:lstStyle>
          <a:p>
            <a:r>
              <a:rPr lang="en-JP"/>
              <a:t> </a:t>
            </a:r>
          </a:p>
        </p:txBody>
      </p:sp>
      <p:sp>
        <p:nvSpPr>
          <p:cNvPr id="22" name="タイトル プレースホルダ 1">
            <a:extLst>
              <a:ext uri="{FF2B5EF4-FFF2-40B4-BE49-F238E27FC236}">
                <a16:creationId xmlns:a16="http://schemas.microsoft.com/office/drawing/2014/main" id="{86D2E5B8-9E2B-DB46-A55A-5F26569C4F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7455190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20" name="スライド番号プレースホルダ 5">
            <a:extLst>
              <a:ext uri="{FF2B5EF4-FFF2-40B4-BE49-F238E27FC236}">
                <a16:creationId xmlns:a16="http://schemas.microsoft.com/office/drawing/2014/main" id="{51A4825E-63A1-564F-BC3A-FBC167ECE5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914108"/>
            <a:fld id="{E9B57936-92EF-4126-AE48-1D9D36D15E98}" type="slidenum">
              <a:rPr lang="ja-JP" altLang="en-US" smtClean="0"/>
              <a:pPr defTabSz="914108"/>
              <a:t>‹#›</a:t>
            </a:fld>
            <a:endParaRPr lang="ja-JP" alt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CF9CDB0-5730-E246-B31F-F5963CF8EFDC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44EB3013-FCB4-1B4E-A9F2-FD57CF727CC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pic>
        <p:nvPicPr>
          <p:cNvPr id="10" name="Picture 9" descr="Takeda">
            <a:extLst>
              <a:ext uri="{FF2B5EF4-FFF2-40B4-BE49-F238E27FC236}">
                <a16:creationId xmlns:a16="http://schemas.microsoft.com/office/drawing/2014/main" id="{837E05AB-D264-42D1-8373-FE63B5E5FE9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3373" y="-1615"/>
            <a:ext cx="1272174" cy="940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4025525"/>
      </p:ext>
    </p:extLst>
  </p:cSld>
  <p:clrMapOvr>
    <a:masterClrMapping/>
  </p:clrMapOvr>
  <p:transition spd="slow">
    <p:push dir="u"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2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531" y="1102386"/>
            <a:ext cx="8274845" cy="5328857"/>
          </a:xfrm>
          <a:prstGeom prst="rect">
            <a:avLst/>
          </a:prstGeom>
        </p:spPr>
        <p:txBody>
          <a:bodyPr tIns="0" rIns="0" bIns="0" numCol="2" spcCol="54000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a two-column layout. Click to add content. </a:t>
            </a:r>
          </a:p>
        </p:txBody>
      </p:sp>
      <p:sp>
        <p:nvSpPr>
          <p:cNvPr id="19" name="Footer Placeholder 8">
            <a:extLst>
              <a:ext uri="{FF2B5EF4-FFF2-40B4-BE49-F238E27FC236}">
                <a16:creationId xmlns:a16="http://schemas.microsoft.com/office/drawing/2014/main" id="{CDA06C55-0643-C148-AAB1-C4BB26FD7B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24538" y="6523002"/>
            <a:ext cx="3086100" cy="19613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="1" spc="75" baseline="0">
                <a:solidFill>
                  <a:schemeClr val="tx1"/>
                </a:solidFill>
              </a:defRPr>
            </a:lvl1pPr>
          </a:lstStyle>
          <a:p>
            <a:r>
              <a:rPr lang="en-JP"/>
              <a:t> </a:t>
            </a:r>
          </a:p>
        </p:txBody>
      </p:sp>
      <p:sp>
        <p:nvSpPr>
          <p:cNvPr id="22" name="タイトル プレースホルダ 1">
            <a:extLst>
              <a:ext uri="{FF2B5EF4-FFF2-40B4-BE49-F238E27FC236}">
                <a16:creationId xmlns:a16="http://schemas.microsoft.com/office/drawing/2014/main" id="{86D2E5B8-9E2B-DB46-A55A-5F26569C4F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7455190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Two-column layout. Click to add title</a:t>
            </a:r>
            <a:endParaRPr kumimoji="1" lang="ja-JP" alt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49634AC-7DDA-D44D-88DB-5850289DD643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0" name="スライド番号プレースホルダ 5">
            <a:extLst>
              <a:ext uri="{FF2B5EF4-FFF2-40B4-BE49-F238E27FC236}">
                <a16:creationId xmlns:a16="http://schemas.microsoft.com/office/drawing/2014/main" id="{E22A984C-7436-8C4C-83C8-F2AD675920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914108"/>
            <a:fld id="{E9B57936-92EF-4126-AE48-1D9D36D15E98}" type="slidenum">
              <a:rPr lang="ja-JP" altLang="en-US" smtClean="0"/>
              <a:pPr defTabSz="914108"/>
              <a:t>‹#›</a:t>
            </a:fld>
            <a:endParaRPr lang="ja-JP" altLang="en-US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0A6720AD-4FA4-A146-AEEB-A4E558BAA3E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pic>
        <p:nvPicPr>
          <p:cNvPr id="9" name="Picture 8" descr="Takeda">
            <a:extLst>
              <a:ext uri="{FF2B5EF4-FFF2-40B4-BE49-F238E27FC236}">
                <a16:creationId xmlns:a16="http://schemas.microsoft.com/office/drawing/2014/main" id="{3E969A1B-DAA0-4A49-B59D-DC2DD537D83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3373" y="-1615"/>
            <a:ext cx="1272174" cy="940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868551"/>
      </p:ext>
    </p:extLst>
  </p:cSld>
  <p:clrMapOvr>
    <a:masterClrMapping/>
  </p:clrMapOvr>
  <p:transition spd="slow">
    <p:push dir="u"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E02383DA-65B3-044E-9E1B-2CC00A0B1CC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6048" y="2303030"/>
            <a:ext cx="3266048" cy="2279130"/>
          </a:xfrm>
          <a:prstGeom prst="rect">
            <a:avLst/>
          </a:prstGeom>
        </p:spPr>
        <p:txBody>
          <a:bodyPr wrap="square" lIns="0" tIns="0" rIns="0" bIns="0" anchor="ctr" anchorCtr="0">
            <a:normAutofit/>
          </a:bodyPr>
          <a:lstStyle>
            <a:lvl1pPr>
              <a:lnSpc>
                <a:spcPts val="2850"/>
              </a:lnSpc>
              <a:defRPr sz="2700" b="1" i="0" baseline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/>
              <a:t>Click to add section titl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2F9C2FE-7E43-3948-92F0-0CEA804BDBFE}"/>
              </a:ext>
            </a:extLst>
          </p:cNvPr>
          <p:cNvSpPr/>
          <p:nvPr/>
        </p:nvSpPr>
        <p:spPr>
          <a:xfrm>
            <a:off x="561754" y="2110246"/>
            <a:ext cx="72900" cy="27071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350">
              <a:solidFill>
                <a:srgbClr val="FFFFFF"/>
              </a:solidFill>
            </a:endParaRPr>
          </a:p>
        </p:txBody>
      </p:sp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46656F8F-0621-5F47-BF80-4A4E365A2D9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981906" y="-1"/>
            <a:ext cx="4174367" cy="6416675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64472"/>
              <a:gd name="connsiteY0" fmla="*/ 0 h 6630428"/>
              <a:gd name="connsiteX1" fmla="*/ 11864472 w 11864472"/>
              <a:gd name="connsiteY1" fmla="*/ 188353 h 6630428"/>
              <a:gd name="connsiteX2" fmla="*/ 11855613 w 11864472"/>
              <a:gd name="connsiteY2" fmla="*/ 6628774 h 6630428"/>
              <a:gd name="connsiteX3" fmla="*/ 579722 w 11864472"/>
              <a:gd name="connsiteY3" fmla="*/ 6630428 h 6630428"/>
              <a:gd name="connsiteX4" fmla="*/ 0 w 11864472"/>
              <a:gd name="connsiteY4" fmla="*/ 6050706 h 6630428"/>
              <a:gd name="connsiteX5" fmla="*/ 0 w 11864472"/>
              <a:gd name="connsiteY5" fmla="*/ 0 h 6630428"/>
              <a:gd name="connsiteX0" fmla="*/ 0 w 11864472"/>
              <a:gd name="connsiteY0" fmla="*/ 13527 h 6643955"/>
              <a:gd name="connsiteX1" fmla="*/ 11864472 w 11864472"/>
              <a:gd name="connsiteY1" fmla="*/ 0 h 6643955"/>
              <a:gd name="connsiteX2" fmla="*/ 11855613 w 11864472"/>
              <a:gd name="connsiteY2" fmla="*/ 6642301 h 6643955"/>
              <a:gd name="connsiteX3" fmla="*/ 579722 w 11864472"/>
              <a:gd name="connsiteY3" fmla="*/ 6643955 h 6643955"/>
              <a:gd name="connsiteX4" fmla="*/ 0 w 11864472"/>
              <a:gd name="connsiteY4" fmla="*/ 6064233 h 6643955"/>
              <a:gd name="connsiteX5" fmla="*/ 0 w 11864472"/>
              <a:gd name="connsiteY5" fmla="*/ 13527 h 6643955"/>
              <a:gd name="connsiteX0" fmla="*/ 0 w 11864472"/>
              <a:gd name="connsiteY0" fmla="*/ 1319813 h 6643955"/>
              <a:gd name="connsiteX1" fmla="*/ 11864472 w 11864472"/>
              <a:gd name="connsiteY1" fmla="*/ 0 h 6643955"/>
              <a:gd name="connsiteX2" fmla="*/ 11855613 w 11864472"/>
              <a:gd name="connsiteY2" fmla="*/ 6642301 h 6643955"/>
              <a:gd name="connsiteX3" fmla="*/ 579722 w 11864472"/>
              <a:gd name="connsiteY3" fmla="*/ 6643955 h 6643955"/>
              <a:gd name="connsiteX4" fmla="*/ 0 w 11864472"/>
              <a:gd name="connsiteY4" fmla="*/ 6064233 h 6643955"/>
              <a:gd name="connsiteX5" fmla="*/ 0 w 11864472"/>
              <a:gd name="connsiteY5" fmla="*/ 1319813 h 6643955"/>
              <a:gd name="connsiteX0" fmla="*/ 0 w 11864472"/>
              <a:gd name="connsiteY0" fmla="*/ 13527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13527 h 5337669"/>
              <a:gd name="connsiteX0" fmla="*/ 0 w 11864472"/>
              <a:gd name="connsiteY0" fmla="*/ 1652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1652 h 5337669"/>
              <a:gd name="connsiteX0" fmla="*/ 0 w 11864472"/>
              <a:gd name="connsiteY0" fmla="*/ 2201927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2201927 h 5337669"/>
              <a:gd name="connsiteX0" fmla="*/ 0 w 11864472"/>
              <a:gd name="connsiteY0" fmla="*/ 1652 h 3137394"/>
              <a:gd name="connsiteX1" fmla="*/ 11864472 w 11864472"/>
              <a:gd name="connsiteY1" fmla="*/ 0 h 3137394"/>
              <a:gd name="connsiteX2" fmla="*/ 11855613 w 11864472"/>
              <a:gd name="connsiteY2" fmla="*/ 3135740 h 3137394"/>
              <a:gd name="connsiteX3" fmla="*/ 579722 w 11864472"/>
              <a:gd name="connsiteY3" fmla="*/ 3137394 h 3137394"/>
              <a:gd name="connsiteX4" fmla="*/ 0 w 11864472"/>
              <a:gd name="connsiteY4" fmla="*/ 2557672 h 3137394"/>
              <a:gd name="connsiteX5" fmla="*/ 0 w 11864472"/>
              <a:gd name="connsiteY5" fmla="*/ 1652 h 3137394"/>
              <a:gd name="connsiteX0" fmla="*/ 0 w 11864472"/>
              <a:gd name="connsiteY0" fmla="*/ 0 h 3420555"/>
              <a:gd name="connsiteX1" fmla="*/ 11864472 w 11864472"/>
              <a:gd name="connsiteY1" fmla="*/ 283161 h 3420555"/>
              <a:gd name="connsiteX2" fmla="*/ 11855613 w 11864472"/>
              <a:gd name="connsiteY2" fmla="*/ 3418901 h 3420555"/>
              <a:gd name="connsiteX3" fmla="*/ 579722 w 11864472"/>
              <a:gd name="connsiteY3" fmla="*/ 3420555 h 3420555"/>
              <a:gd name="connsiteX4" fmla="*/ 0 w 11864472"/>
              <a:gd name="connsiteY4" fmla="*/ 2840833 h 3420555"/>
              <a:gd name="connsiteX5" fmla="*/ 0 w 11864472"/>
              <a:gd name="connsiteY5" fmla="*/ 0 h 3420555"/>
              <a:gd name="connsiteX0" fmla="*/ 0 w 11864472"/>
              <a:gd name="connsiteY0" fmla="*/ 1652 h 3422207"/>
              <a:gd name="connsiteX1" fmla="*/ 11864472 w 11864472"/>
              <a:gd name="connsiteY1" fmla="*/ 0 h 3422207"/>
              <a:gd name="connsiteX2" fmla="*/ 11855613 w 11864472"/>
              <a:gd name="connsiteY2" fmla="*/ 3420553 h 3422207"/>
              <a:gd name="connsiteX3" fmla="*/ 579722 w 11864472"/>
              <a:gd name="connsiteY3" fmla="*/ 3422207 h 3422207"/>
              <a:gd name="connsiteX4" fmla="*/ 0 w 11864472"/>
              <a:gd name="connsiteY4" fmla="*/ 2842485 h 3422207"/>
              <a:gd name="connsiteX5" fmla="*/ 0 w 11864472"/>
              <a:gd name="connsiteY5" fmla="*/ 1652 h 3422207"/>
              <a:gd name="connsiteX0" fmla="*/ 0 w 11855613"/>
              <a:gd name="connsiteY0" fmla="*/ 0 h 3420555"/>
              <a:gd name="connsiteX1" fmla="*/ 11834492 w 11855613"/>
              <a:gd name="connsiteY1" fmla="*/ 58309 h 3420555"/>
              <a:gd name="connsiteX2" fmla="*/ 11855613 w 11855613"/>
              <a:gd name="connsiteY2" fmla="*/ 3418901 h 3420555"/>
              <a:gd name="connsiteX3" fmla="*/ 579722 w 11855613"/>
              <a:gd name="connsiteY3" fmla="*/ 3420555 h 3420555"/>
              <a:gd name="connsiteX4" fmla="*/ 0 w 11855613"/>
              <a:gd name="connsiteY4" fmla="*/ 2840833 h 3420555"/>
              <a:gd name="connsiteX5" fmla="*/ 0 w 11855613"/>
              <a:gd name="connsiteY5" fmla="*/ 0 h 3420555"/>
              <a:gd name="connsiteX0" fmla="*/ 0 w 11855613"/>
              <a:gd name="connsiteY0" fmla="*/ 1652 h 3362246"/>
              <a:gd name="connsiteX1" fmla="*/ 11834492 w 11855613"/>
              <a:gd name="connsiteY1" fmla="*/ 0 h 3362246"/>
              <a:gd name="connsiteX2" fmla="*/ 11855613 w 11855613"/>
              <a:gd name="connsiteY2" fmla="*/ 3360592 h 3362246"/>
              <a:gd name="connsiteX3" fmla="*/ 579722 w 11855613"/>
              <a:gd name="connsiteY3" fmla="*/ 3362246 h 3362246"/>
              <a:gd name="connsiteX4" fmla="*/ 0 w 11855613"/>
              <a:gd name="connsiteY4" fmla="*/ 2782524 h 3362246"/>
              <a:gd name="connsiteX5" fmla="*/ 0 w 11855613"/>
              <a:gd name="connsiteY5" fmla="*/ 1652 h 3362246"/>
              <a:gd name="connsiteX0" fmla="*/ 0 w 11864473"/>
              <a:gd name="connsiteY0" fmla="*/ 0 h 3360594"/>
              <a:gd name="connsiteX1" fmla="*/ 11864473 w 11864473"/>
              <a:gd name="connsiteY1" fmla="*/ 13338 h 3360594"/>
              <a:gd name="connsiteX2" fmla="*/ 11855613 w 11864473"/>
              <a:gd name="connsiteY2" fmla="*/ 3358940 h 3360594"/>
              <a:gd name="connsiteX3" fmla="*/ 579722 w 11864473"/>
              <a:gd name="connsiteY3" fmla="*/ 3360594 h 3360594"/>
              <a:gd name="connsiteX4" fmla="*/ 0 w 11864473"/>
              <a:gd name="connsiteY4" fmla="*/ 2780872 h 3360594"/>
              <a:gd name="connsiteX5" fmla="*/ 0 w 11864473"/>
              <a:gd name="connsiteY5" fmla="*/ 0 h 3360594"/>
              <a:gd name="connsiteX0" fmla="*/ 0 w 11864473"/>
              <a:gd name="connsiteY0" fmla="*/ 1652 h 3362246"/>
              <a:gd name="connsiteX1" fmla="*/ 11864473 w 11864473"/>
              <a:gd name="connsiteY1" fmla="*/ 0 h 3362246"/>
              <a:gd name="connsiteX2" fmla="*/ 11855613 w 11864473"/>
              <a:gd name="connsiteY2" fmla="*/ 3360592 h 3362246"/>
              <a:gd name="connsiteX3" fmla="*/ 579722 w 11864473"/>
              <a:gd name="connsiteY3" fmla="*/ 3362246 h 3362246"/>
              <a:gd name="connsiteX4" fmla="*/ 0 w 11864473"/>
              <a:gd name="connsiteY4" fmla="*/ 2782524 h 3362246"/>
              <a:gd name="connsiteX5" fmla="*/ 0 w 11864473"/>
              <a:gd name="connsiteY5" fmla="*/ 1652 h 3362246"/>
              <a:gd name="connsiteX0" fmla="*/ 0 w 11855629"/>
              <a:gd name="connsiteY0" fmla="*/ 1652 h 3362246"/>
              <a:gd name="connsiteX1" fmla="*/ 11459359 w 11855629"/>
              <a:gd name="connsiteY1" fmla="*/ 0 h 3362246"/>
              <a:gd name="connsiteX2" fmla="*/ 11855613 w 11855629"/>
              <a:gd name="connsiteY2" fmla="*/ 3360592 h 3362246"/>
              <a:gd name="connsiteX3" fmla="*/ 579722 w 11855629"/>
              <a:gd name="connsiteY3" fmla="*/ 3362246 h 3362246"/>
              <a:gd name="connsiteX4" fmla="*/ 0 w 11855629"/>
              <a:gd name="connsiteY4" fmla="*/ 2782524 h 3362246"/>
              <a:gd name="connsiteX5" fmla="*/ 0 w 11855629"/>
              <a:gd name="connsiteY5" fmla="*/ 1652 h 3362246"/>
              <a:gd name="connsiteX0" fmla="*/ 0 w 11459359"/>
              <a:gd name="connsiteY0" fmla="*/ 1652 h 3362246"/>
              <a:gd name="connsiteX1" fmla="*/ 11459359 w 11459359"/>
              <a:gd name="connsiteY1" fmla="*/ 0 h 3362246"/>
              <a:gd name="connsiteX2" fmla="*/ 11438924 w 11459359"/>
              <a:gd name="connsiteY2" fmla="*/ 3360592 h 3362246"/>
              <a:gd name="connsiteX3" fmla="*/ 579722 w 11459359"/>
              <a:gd name="connsiteY3" fmla="*/ 3362246 h 3362246"/>
              <a:gd name="connsiteX4" fmla="*/ 0 w 11459359"/>
              <a:gd name="connsiteY4" fmla="*/ 2782524 h 3362246"/>
              <a:gd name="connsiteX5" fmla="*/ 0 w 11459359"/>
              <a:gd name="connsiteY5" fmla="*/ 1652 h 3362246"/>
              <a:gd name="connsiteX0" fmla="*/ 0 w 11459359"/>
              <a:gd name="connsiteY0" fmla="*/ 1652 h 3362246"/>
              <a:gd name="connsiteX1" fmla="*/ 11459359 w 11459359"/>
              <a:gd name="connsiteY1" fmla="*/ 0 h 3362246"/>
              <a:gd name="connsiteX2" fmla="*/ 11438924 w 11459359"/>
              <a:gd name="connsiteY2" fmla="*/ 3360592 h 3362246"/>
              <a:gd name="connsiteX3" fmla="*/ 1584742 w 11459359"/>
              <a:gd name="connsiteY3" fmla="*/ 3362246 h 3362246"/>
              <a:gd name="connsiteX4" fmla="*/ 0 w 11459359"/>
              <a:gd name="connsiteY4" fmla="*/ 2782524 h 3362246"/>
              <a:gd name="connsiteX5" fmla="*/ 0 w 11459359"/>
              <a:gd name="connsiteY5" fmla="*/ 1652 h 3362246"/>
              <a:gd name="connsiteX0" fmla="*/ 0 w 11459359"/>
              <a:gd name="connsiteY0" fmla="*/ 1652 h 3360592"/>
              <a:gd name="connsiteX1" fmla="*/ 11459359 w 11459359"/>
              <a:gd name="connsiteY1" fmla="*/ 0 h 3360592"/>
              <a:gd name="connsiteX2" fmla="*/ 11438924 w 11459359"/>
              <a:gd name="connsiteY2" fmla="*/ 3360592 h 3360592"/>
              <a:gd name="connsiteX3" fmla="*/ 1188396 w 11459359"/>
              <a:gd name="connsiteY3" fmla="*/ 3358591 h 3360592"/>
              <a:gd name="connsiteX4" fmla="*/ 0 w 11459359"/>
              <a:gd name="connsiteY4" fmla="*/ 2782524 h 3360592"/>
              <a:gd name="connsiteX5" fmla="*/ 0 w 11459359"/>
              <a:gd name="connsiteY5" fmla="*/ 1652 h 3360592"/>
              <a:gd name="connsiteX0" fmla="*/ 0 w 11459359"/>
              <a:gd name="connsiteY0" fmla="*/ 1652 h 3360592"/>
              <a:gd name="connsiteX1" fmla="*/ 11459359 w 11459359"/>
              <a:gd name="connsiteY1" fmla="*/ 0 h 3360592"/>
              <a:gd name="connsiteX2" fmla="*/ 11438924 w 11459359"/>
              <a:gd name="connsiteY2" fmla="*/ 3360592 h 3360592"/>
              <a:gd name="connsiteX3" fmla="*/ 1188396 w 11459359"/>
              <a:gd name="connsiteY3" fmla="*/ 3358591 h 3360592"/>
              <a:gd name="connsiteX4" fmla="*/ 0 w 11459359"/>
              <a:gd name="connsiteY4" fmla="*/ 2946995 h 3360592"/>
              <a:gd name="connsiteX5" fmla="*/ 0 w 11459359"/>
              <a:gd name="connsiteY5" fmla="*/ 1652 h 3360592"/>
              <a:gd name="connsiteX0" fmla="*/ 0 w 11459359"/>
              <a:gd name="connsiteY0" fmla="*/ 1652 h 3360592"/>
              <a:gd name="connsiteX1" fmla="*/ 11459359 w 11459359"/>
              <a:gd name="connsiteY1" fmla="*/ 0 h 3360592"/>
              <a:gd name="connsiteX2" fmla="*/ 11438924 w 11459359"/>
              <a:gd name="connsiteY2" fmla="*/ 3360592 h 3360592"/>
              <a:gd name="connsiteX3" fmla="*/ 1188396 w 11459359"/>
              <a:gd name="connsiteY3" fmla="*/ 3358591 h 3360592"/>
              <a:gd name="connsiteX4" fmla="*/ 0 w 11459359"/>
              <a:gd name="connsiteY4" fmla="*/ 2946995 h 3360592"/>
              <a:gd name="connsiteX5" fmla="*/ 0 w 11459359"/>
              <a:gd name="connsiteY5" fmla="*/ 1652 h 3360592"/>
              <a:gd name="connsiteX0" fmla="*/ 0 w 11459359"/>
              <a:gd name="connsiteY0" fmla="*/ 1652 h 3360592"/>
              <a:gd name="connsiteX1" fmla="*/ 11459359 w 11459359"/>
              <a:gd name="connsiteY1" fmla="*/ 0 h 3360592"/>
              <a:gd name="connsiteX2" fmla="*/ 11438924 w 11459359"/>
              <a:gd name="connsiteY2" fmla="*/ 3360592 h 3360592"/>
              <a:gd name="connsiteX3" fmla="*/ 1188396 w 11459359"/>
              <a:gd name="connsiteY3" fmla="*/ 3358591 h 3360592"/>
              <a:gd name="connsiteX4" fmla="*/ 0 w 11459359"/>
              <a:gd name="connsiteY4" fmla="*/ 2946995 h 3360592"/>
              <a:gd name="connsiteX5" fmla="*/ 0 w 11459359"/>
              <a:gd name="connsiteY5" fmla="*/ 1652 h 3360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59359" h="3360592">
                <a:moveTo>
                  <a:pt x="0" y="1652"/>
                </a:moveTo>
                <a:lnTo>
                  <a:pt x="11459359" y="0"/>
                </a:lnTo>
                <a:cubicBezTo>
                  <a:pt x="11456406" y="1115201"/>
                  <a:pt x="11441877" y="2245391"/>
                  <a:pt x="11438924" y="3360592"/>
                </a:cubicBezTo>
                <a:lnTo>
                  <a:pt x="1188396" y="3358591"/>
                </a:lnTo>
                <a:cubicBezTo>
                  <a:pt x="848612" y="3356903"/>
                  <a:pt x="0" y="3267167"/>
                  <a:pt x="0" y="2946995"/>
                </a:cubicBezTo>
                <a:lnTo>
                  <a:pt x="0" y="1652"/>
                </a:lnTo>
                <a:close/>
              </a:path>
            </a:pathLst>
          </a:custGeom>
          <a:noFill/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P"/>
          </a:p>
        </p:txBody>
      </p:sp>
    </p:spTree>
    <p:extLst>
      <p:ext uri="{BB962C8B-B14F-4D97-AF65-F5344CB8AC3E}">
        <p14:creationId xmlns:p14="http://schemas.microsoft.com/office/powerpoint/2010/main" val="3560645898"/>
      </p:ext>
    </p:extLst>
  </p:cSld>
  <p:clrMapOvr>
    <a:masterClrMapping/>
  </p:clrMapOvr>
  <p:transition spd="slow">
    <p:push dir="u"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dvanced 3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925D82-457F-D84D-B8DF-D8ADFD7E71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0531" y="3178298"/>
            <a:ext cx="4074319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35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4558" y="3575905"/>
            <a:ext cx="2676680" cy="2840771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28588" indent="-128588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 sz="1050" b="0">
                <a:solidFill>
                  <a:schemeClr val="tx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ext. 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3BB454FD-9C16-FC47-B46E-6675394572B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23261" y="3575905"/>
            <a:ext cx="2759693" cy="2840771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28588" indent="-128588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 sz="1050" b="0">
                <a:solidFill>
                  <a:schemeClr val="tx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ext. 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568F3A49-7287-1C4D-93C8-50E3C0B4F15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74976" y="3575905"/>
            <a:ext cx="2640400" cy="2840771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28588" indent="-128588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 sz="1050" b="0">
                <a:solidFill>
                  <a:schemeClr val="tx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ext. </a:t>
            </a:r>
          </a:p>
        </p:txBody>
      </p:sp>
      <p:sp>
        <p:nvSpPr>
          <p:cNvPr id="21" name="Footer Placeholder 8">
            <a:extLst>
              <a:ext uri="{FF2B5EF4-FFF2-40B4-BE49-F238E27FC236}">
                <a16:creationId xmlns:a16="http://schemas.microsoft.com/office/drawing/2014/main" id="{519BC59F-4516-0043-8BAC-F9FE45B6A9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24538" y="6523002"/>
            <a:ext cx="30861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600" b="1" spc="75" baseline="0">
                <a:solidFill>
                  <a:schemeClr val="tx1"/>
                </a:solidFill>
              </a:defRPr>
            </a:lvl1pPr>
          </a:lstStyle>
          <a:p>
            <a:r>
              <a:rPr lang="en-JP"/>
              <a:t> </a:t>
            </a:r>
          </a:p>
        </p:txBody>
      </p:sp>
      <p:sp>
        <p:nvSpPr>
          <p:cNvPr id="24" name="タイトル プレースホルダ 1">
            <a:extLst>
              <a:ext uri="{FF2B5EF4-FFF2-40B4-BE49-F238E27FC236}">
                <a16:creationId xmlns:a16="http://schemas.microsoft.com/office/drawing/2014/main" id="{CC986DF6-9894-F144-B9DA-A9DBE0000A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7455190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86528CE-2840-6C44-965A-04D8835743E3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7" name="スライド番号プレースホルダ 5">
            <a:extLst>
              <a:ext uri="{FF2B5EF4-FFF2-40B4-BE49-F238E27FC236}">
                <a16:creationId xmlns:a16="http://schemas.microsoft.com/office/drawing/2014/main" id="{854E474F-30B0-604E-9699-287AC57CAA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914108"/>
            <a:fld id="{E9B57936-92EF-4126-AE48-1D9D36D15E98}" type="slidenum">
              <a:rPr lang="ja-JP" altLang="en-US" smtClean="0"/>
              <a:pPr defTabSz="914108"/>
              <a:t>‹#›</a:t>
            </a:fld>
            <a:endParaRPr lang="ja-JP" altLang="en-US"/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C9681050-C142-4F4F-B3C6-6F52F3C55C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110504E2-40F0-054E-8424-D247EF2CA2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4558" y="1491374"/>
            <a:ext cx="8260817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/>
            </a:lvl1pPr>
            <a:lvl2pPr marL="342801" indent="0">
              <a:buNone/>
              <a:defRPr sz="1350" b="1"/>
            </a:lvl2pPr>
            <a:lvl3pPr marL="685612" indent="0">
              <a:buNone/>
              <a:defRPr sz="1350" b="1"/>
            </a:lvl3pPr>
            <a:lvl4pPr marL="1028414" indent="0">
              <a:buNone/>
              <a:defRPr sz="1350" b="1"/>
            </a:lvl4pPr>
            <a:lvl5pPr marL="1371218" indent="0">
              <a:buNone/>
              <a:defRPr sz="135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073E75F2-7FFB-DC4C-8964-799372FCF58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4558" y="1093767"/>
            <a:ext cx="8260817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50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Primary Title</a:t>
            </a:r>
          </a:p>
        </p:txBody>
      </p:sp>
      <p:pic>
        <p:nvPicPr>
          <p:cNvPr id="15" name="Picture 14" descr="Takeda">
            <a:extLst>
              <a:ext uri="{FF2B5EF4-FFF2-40B4-BE49-F238E27FC236}">
                <a16:creationId xmlns:a16="http://schemas.microsoft.com/office/drawing/2014/main" id="{2DBD11E4-3F45-48F4-AEC8-957BBDFD3C8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3373" y="-1615"/>
            <a:ext cx="1272174" cy="940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7999416"/>
      </p:ext>
    </p:extLst>
  </p:cSld>
  <p:clrMapOvr>
    <a:masterClrMapping/>
  </p:clrMapOvr>
  <p:transition spd="slow">
    <p:push dir="u"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dvanced 2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B3311DE3-EC35-4C49-805E-57AB2D90E99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158057" y="1093767"/>
            <a:ext cx="5991267" cy="5322908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33463"/>
              <a:gd name="connsiteX1" fmla="*/ 8912928 w 8915642"/>
              <a:gd name="connsiteY1" fmla="*/ 191388 h 6633463"/>
              <a:gd name="connsiteX2" fmla="*/ 8915642 w 8915642"/>
              <a:gd name="connsiteY2" fmla="*/ 6631809 h 6633463"/>
              <a:gd name="connsiteX3" fmla="*/ 579722 w 8915642"/>
              <a:gd name="connsiteY3" fmla="*/ 6633463 h 6633463"/>
              <a:gd name="connsiteX4" fmla="*/ 0 w 8915642"/>
              <a:gd name="connsiteY4" fmla="*/ 6053741 h 6633463"/>
              <a:gd name="connsiteX5" fmla="*/ 0 w 8915642"/>
              <a:gd name="connsiteY5" fmla="*/ 1 h 6633463"/>
              <a:gd name="connsiteX0" fmla="*/ 0 w 8933278"/>
              <a:gd name="connsiteY0" fmla="*/ 1653 h 6635115"/>
              <a:gd name="connsiteX1" fmla="*/ 8933248 w 8933278"/>
              <a:gd name="connsiteY1" fmla="*/ 0 h 6635115"/>
              <a:gd name="connsiteX2" fmla="*/ 8915642 w 8933278"/>
              <a:gd name="connsiteY2" fmla="*/ 6633461 h 6635115"/>
              <a:gd name="connsiteX3" fmla="*/ 579722 w 8933278"/>
              <a:gd name="connsiteY3" fmla="*/ 6635115 h 6635115"/>
              <a:gd name="connsiteX4" fmla="*/ 0 w 8933278"/>
              <a:gd name="connsiteY4" fmla="*/ 6055393 h 6635115"/>
              <a:gd name="connsiteX5" fmla="*/ 0 w 8933278"/>
              <a:gd name="connsiteY5" fmla="*/ 1653 h 6635115"/>
              <a:gd name="connsiteX0" fmla="*/ 0 w 8933323"/>
              <a:gd name="connsiteY0" fmla="*/ 1653 h 6645336"/>
              <a:gd name="connsiteX1" fmla="*/ 8933248 w 8933323"/>
              <a:gd name="connsiteY1" fmla="*/ 0 h 6645336"/>
              <a:gd name="connsiteX2" fmla="*/ 8927517 w 8933323"/>
              <a:gd name="connsiteY2" fmla="*/ 6645336 h 6645336"/>
              <a:gd name="connsiteX3" fmla="*/ 579722 w 8933323"/>
              <a:gd name="connsiteY3" fmla="*/ 6635115 h 6645336"/>
              <a:gd name="connsiteX4" fmla="*/ 0 w 8933323"/>
              <a:gd name="connsiteY4" fmla="*/ 6055393 h 6645336"/>
              <a:gd name="connsiteX5" fmla="*/ 0 w 8933323"/>
              <a:gd name="connsiteY5" fmla="*/ 1653 h 6645336"/>
              <a:gd name="connsiteX0" fmla="*/ 0 w 8927517"/>
              <a:gd name="connsiteY0" fmla="*/ 1653 h 6645336"/>
              <a:gd name="connsiteX1" fmla="*/ 7971347 w 8927517"/>
              <a:gd name="connsiteY1" fmla="*/ 0 h 6645336"/>
              <a:gd name="connsiteX2" fmla="*/ 8927517 w 8927517"/>
              <a:gd name="connsiteY2" fmla="*/ 6645336 h 6645336"/>
              <a:gd name="connsiteX3" fmla="*/ 579722 w 8927517"/>
              <a:gd name="connsiteY3" fmla="*/ 6635115 h 6645336"/>
              <a:gd name="connsiteX4" fmla="*/ 0 w 8927517"/>
              <a:gd name="connsiteY4" fmla="*/ 6055393 h 6645336"/>
              <a:gd name="connsiteX5" fmla="*/ 0 w 8927517"/>
              <a:gd name="connsiteY5" fmla="*/ 1653 h 6645336"/>
              <a:gd name="connsiteX0" fmla="*/ 0 w 7971422"/>
              <a:gd name="connsiteY0" fmla="*/ 1653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653 h 6645336"/>
              <a:gd name="connsiteX0" fmla="*/ 0 w 7971422"/>
              <a:gd name="connsiteY0" fmla="*/ 1301816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301816 h 6645336"/>
              <a:gd name="connsiteX0" fmla="*/ 0 w 7965616"/>
              <a:gd name="connsiteY0" fmla="*/ 1653 h 5345173"/>
              <a:gd name="connsiteX1" fmla="*/ 7957060 w 7965616"/>
              <a:gd name="connsiteY1" fmla="*/ 0 h 5345173"/>
              <a:gd name="connsiteX2" fmla="*/ 7965616 w 7965616"/>
              <a:gd name="connsiteY2" fmla="*/ 5345173 h 5345173"/>
              <a:gd name="connsiteX3" fmla="*/ 579722 w 7965616"/>
              <a:gd name="connsiteY3" fmla="*/ 5334952 h 5345173"/>
              <a:gd name="connsiteX4" fmla="*/ 0 w 7965616"/>
              <a:gd name="connsiteY4" fmla="*/ 4755230 h 5345173"/>
              <a:gd name="connsiteX5" fmla="*/ 0 w 7965616"/>
              <a:gd name="connsiteY5" fmla="*/ 1653 h 5345173"/>
              <a:gd name="connsiteX0" fmla="*/ 0 w 7971422"/>
              <a:gd name="connsiteY0" fmla="*/ 1653 h 5345173"/>
              <a:gd name="connsiteX1" fmla="*/ 7971347 w 7971422"/>
              <a:gd name="connsiteY1" fmla="*/ 0 h 5345173"/>
              <a:gd name="connsiteX2" fmla="*/ 7965616 w 7971422"/>
              <a:gd name="connsiteY2" fmla="*/ 5345173 h 5345173"/>
              <a:gd name="connsiteX3" fmla="*/ 579722 w 7971422"/>
              <a:gd name="connsiteY3" fmla="*/ 5334952 h 5345173"/>
              <a:gd name="connsiteX4" fmla="*/ 0 w 7971422"/>
              <a:gd name="connsiteY4" fmla="*/ 4755230 h 5345173"/>
              <a:gd name="connsiteX5" fmla="*/ 0 w 7971422"/>
              <a:gd name="connsiteY5" fmla="*/ 1653 h 5345173"/>
              <a:gd name="connsiteX0" fmla="*/ 0 w 7988356"/>
              <a:gd name="connsiteY0" fmla="*/ 187920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187920 h 5345173"/>
              <a:gd name="connsiteX0" fmla="*/ 0 w 7988356"/>
              <a:gd name="connsiteY0" fmla="*/ 210145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210145 h 5345173"/>
              <a:gd name="connsiteX0" fmla="*/ 0 w 7988356"/>
              <a:gd name="connsiteY0" fmla="*/ 0 h 5135028"/>
              <a:gd name="connsiteX1" fmla="*/ 7988281 w 7988356"/>
              <a:gd name="connsiteY1" fmla="*/ 7569 h 5135028"/>
              <a:gd name="connsiteX2" fmla="*/ 7982550 w 7988356"/>
              <a:gd name="connsiteY2" fmla="*/ 5135028 h 5135028"/>
              <a:gd name="connsiteX3" fmla="*/ 596656 w 7988356"/>
              <a:gd name="connsiteY3" fmla="*/ 5124807 h 5135028"/>
              <a:gd name="connsiteX4" fmla="*/ 16934 w 7988356"/>
              <a:gd name="connsiteY4" fmla="*/ 4545085 h 5135028"/>
              <a:gd name="connsiteX5" fmla="*/ 0 w 7988356"/>
              <a:gd name="connsiteY5" fmla="*/ 0 h 5135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88356" h="5135028">
                <a:moveTo>
                  <a:pt x="0" y="0"/>
                </a:moveTo>
                <a:lnTo>
                  <a:pt x="7988281" y="7569"/>
                </a:lnTo>
                <a:cubicBezTo>
                  <a:pt x="7989186" y="2154376"/>
                  <a:pt x="7981645" y="2988221"/>
                  <a:pt x="7982550" y="5135028"/>
                </a:cubicBezTo>
                <a:lnTo>
                  <a:pt x="596656" y="5124807"/>
                </a:lnTo>
                <a:cubicBezTo>
                  <a:pt x="276484" y="5124807"/>
                  <a:pt x="16934" y="4865257"/>
                  <a:pt x="16934" y="4545085"/>
                </a:cubicBezTo>
                <a:cubicBezTo>
                  <a:pt x="11289" y="3022648"/>
                  <a:pt x="5645" y="1522437"/>
                  <a:pt x="0" y="0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JP"/>
              <a:t>Insert Photo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925D82-457F-D84D-B8DF-D8ADFD7E71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0531" y="3178298"/>
            <a:ext cx="2606806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35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4558" y="3575905"/>
            <a:ext cx="2592779" cy="2840771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28588" indent="-128588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 sz="1050" b="0">
                <a:solidFill>
                  <a:schemeClr val="tx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ext. </a:t>
            </a:r>
          </a:p>
        </p:txBody>
      </p:sp>
      <p:sp>
        <p:nvSpPr>
          <p:cNvPr id="20" name="Footer Placeholder 8">
            <a:extLst>
              <a:ext uri="{FF2B5EF4-FFF2-40B4-BE49-F238E27FC236}">
                <a16:creationId xmlns:a16="http://schemas.microsoft.com/office/drawing/2014/main" id="{E4ACE247-6DA5-F044-A880-12BDFE1490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24538" y="6523002"/>
            <a:ext cx="30861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600" b="1" spc="75" baseline="0">
                <a:solidFill>
                  <a:schemeClr val="tx1"/>
                </a:solidFill>
              </a:defRPr>
            </a:lvl1pPr>
          </a:lstStyle>
          <a:p>
            <a:r>
              <a:rPr lang="en-JP"/>
              <a:t> </a:t>
            </a:r>
          </a:p>
        </p:txBody>
      </p:sp>
      <p:sp>
        <p:nvSpPr>
          <p:cNvPr id="22" name="タイトル プレースホルダ 1">
            <a:extLst>
              <a:ext uri="{FF2B5EF4-FFF2-40B4-BE49-F238E27FC236}">
                <a16:creationId xmlns:a16="http://schemas.microsoft.com/office/drawing/2014/main" id="{1545CFCD-ABA6-1349-9917-1DDD2762CB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7455190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7730F84-B57E-C441-B81C-A0677388FA64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5" name="スライド番号プレースホルダ 5">
            <a:extLst>
              <a:ext uri="{FF2B5EF4-FFF2-40B4-BE49-F238E27FC236}">
                <a16:creationId xmlns:a16="http://schemas.microsoft.com/office/drawing/2014/main" id="{78815F79-70B9-A343-88C1-1B41F15106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914108"/>
            <a:fld id="{E9B57936-92EF-4126-AE48-1D9D36D15E98}" type="slidenum">
              <a:rPr lang="ja-JP" altLang="en-US" smtClean="0"/>
              <a:pPr defTabSz="914108"/>
              <a:t>‹#›</a:t>
            </a:fld>
            <a:endParaRPr lang="ja-JP" altLang="en-US"/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6ACFB15D-3880-FB46-8B5A-E057FE4C9B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F3CD883-F623-E54C-A27A-38B7EB95705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0532" y="1491374"/>
            <a:ext cx="2606806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/>
            </a:lvl1pPr>
            <a:lvl2pPr marL="342801" indent="0">
              <a:buNone/>
              <a:defRPr sz="1350" b="1"/>
            </a:lvl2pPr>
            <a:lvl3pPr marL="685612" indent="0">
              <a:buNone/>
              <a:defRPr sz="1350" b="1"/>
            </a:lvl3pPr>
            <a:lvl4pPr marL="1028414" indent="0">
              <a:buNone/>
              <a:defRPr sz="1350" b="1"/>
            </a:lvl4pPr>
            <a:lvl5pPr marL="1371218" indent="0">
              <a:buNone/>
              <a:defRPr sz="135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B2D601E3-CC68-7845-AAF4-3AD141198B4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4559" y="1093767"/>
            <a:ext cx="2592778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50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Primary Title</a:t>
            </a:r>
          </a:p>
        </p:txBody>
      </p:sp>
      <p:pic>
        <p:nvPicPr>
          <p:cNvPr id="15" name="Picture 14" descr="Takeda">
            <a:extLst>
              <a:ext uri="{FF2B5EF4-FFF2-40B4-BE49-F238E27FC236}">
                <a16:creationId xmlns:a16="http://schemas.microsoft.com/office/drawing/2014/main" id="{BC016027-1704-4EC4-A0A9-C142437F7E5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3373" y="-1615"/>
            <a:ext cx="1272174" cy="940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183464"/>
      </p:ext>
    </p:extLst>
  </p:cSld>
  <p:clrMapOvr>
    <a:masterClrMapping/>
  </p:clrMapOvr>
  <p:transition spd="slow">
    <p:push dir="u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D&amp;T 1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3363" y="1102386"/>
            <a:ext cx="8677275" cy="4963135"/>
          </a:xfrm>
          <a:prstGeom prst="rect">
            <a:avLst/>
          </a:prstGeom>
        </p:spPr>
        <p:txBody>
          <a:bodyPr tIns="0" rIns="0" bIns="0" numCol="1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a one-column layout. Click to add content</a:t>
            </a:r>
          </a:p>
        </p:txBody>
      </p:sp>
      <p:sp>
        <p:nvSpPr>
          <p:cNvPr id="22" name="タイトル プレースホルダ 1">
            <a:extLst>
              <a:ext uri="{FF2B5EF4-FFF2-40B4-BE49-F238E27FC236}">
                <a16:creationId xmlns:a16="http://schemas.microsoft.com/office/drawing/2014/main" id="{86D2E5B8-9E2B-DB46-A55A-5F26569C4F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7455190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CF9CDB0-5730-E246-B31F-F5963CF8EFDC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44EB3013-FCB4-1B4E-A9F2-FD57CF727CC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DEBA354-D33F-280A-864C-953E643E58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24926" y="277419"/>
            <a:ext cx="844617" cy="394888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CD9EF559-8D7B-75BC-E677-F95BD332CCC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8093234" y="6312851"/>
            <a:ext cx="825739" cy="372288"/>
          </a:xfrm>
          <a:prstGeom prst="rect">
            <a:avLst/>
          </a:prstGeom>
        </p:spPr>
      </p:pic>
      <p:sp>
        <p:nvSpPr>
          <p:cNvPr id="20" name="スライド番号プレースホルダ 5">
            <a:extLst>
              <a:ext uri="{FF2B5EF4-FFF2-40B4-BE49-F238E27FC236}">
                <a16:creationId xmlns:a16="http://schemas.microsoft.com/office/drawing/2014/main" id="{51A4825E-63A1-564F-BC3A-FBC167ECE5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8512091"/>
      </p:ext>
    </p:extLst>
  </p:cSld>
  <p:clrMapOvr>
    <a:masterClrMapping/>
  </p:clrMapOvr>
  <p:transition spd="slow">
    <p:push dir="u"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dvanced _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ooter Placeholder 8">
            <a:extLst>
              <a:ext uri="{FF2B5EF4-FFF2-40B4-BE49-F238E27FC236}">
                <a16:creationId xmlns:a16="http://schemas.microsoft.com/office/drawing/2014/main" id="{8D5F5577-3F64-2049-A839-8C5C39554B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24538" y="6523002"/>
            <a:ext cx="30861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600" b="1" spc="75" baseline="0">
                <a:solidFill>
                  <a:schemeClr val="tx1"/>
                </a:solidFill>
              </a:defRPr>
            </a:lvl1pPr>
          </a:lstStyle>
          <a:p>
            <a:r>
              <a:rPr lang="en-JP"/>
              <a:t> 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2AD9E95A-6959-B64E-ADF8-64DD679B934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629152" y="1093767"/>
            <a:ext cx="4528227" cy="5341758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33463"/>
              <a:gd name="connsiteX1" fmla="*/ 8912928 w 8915642"/>
              <a:gd name="connsiteY1" fmla="*/ 191388 h 6633463"/>
              <a:gd name="connsiteX2" fmla="*/ 8915642 w 8915642"/>
              <a:gd name="connsiteY2" fmla="*/ 6631809 h 6633463"/>
              <a:gd name="connsiteX3" fmla="*/ 579722 w 8915642"/>
              <a:gd name="connsiteY3" fmla="*/ 6633463 h 6633463"/>
              <a:gd name="connsiteX4" fmla="*/ 0 w 8915642"/>
              <a:gd name="connsiteY4" fmla="*/ 6053741 h 6633463"/>
              <a:gd name="connsiteX5" fmla="*/ 0 w 8915642"/>
              <a:gd name="connsiteY5" fmla="*/ 1 h 6633463"/>
              <a:gd name="connsiteX0" fmla="*/ 0 w 8933278"/>
              <a:gd name="connsiteY0" fmla="*/ 1653 h 6635115"/>
              <a:gd name="connsiteX1" fmla="*/ 8933248 w 8933278"/>
              <a:gd name="connsiteY1" fmla="*/ 0 h 6635115"/>
              <a:gd name="connsiteX2" fmla="*/ 8915642 w 8933278"/>
              <a:gd name="connsiteY2" fmla="*/ 6633461 h 6635115"/>
              <a:gd name="connsiteX3" fmla="*/ 579722 w 8933278"/>
              <a:gd name="connsiteY3" fmla="*/ 6635115 h 6635115"/>
              <a:gd name="connsiteX4" fmla="*/ 0 w 8933278"/>
              <a:gd name="connsiteY4" fmla="*/ 6055393 h 6635115"/>
              <a:gd name="connsiteX5" fmla="*/ 0 w 8933278"/>
              <a:gd name="connsiteY5" fmla="*/ 1653 h 6635115"/>
              <a:gd name="connsiteX0" fmla="*/ 0 w 8933323"/>
              <a:gd name="connsiteY0" fmla="*/ 1653 h 6645336"/>
              <a:gd name="connsiteX1" fmla="*/ 8933248 w 8933323"/>
              <a:gd name="connsiteY1" fmla="*/ 0 h 6645336"/>
              <a:gd name="connsiteX2" fmla="*/ 8927517 w 8933323"/>
              <a:gd name="connsiteY2" fmla="*/ 6645336 h 6645336"/>
              <a:gd name="connsiteX3" fmla="*/ 579722 w 8933323"/>
              <a:gd name="connsiteY3" fmla="*/ 6635115 h 6645336"/>
              <a:gd name="connsiteX4" fmla="*/ 0 w 8933323"/>
              <a:gd name="connsiteY4" fmla="*/ 6055393 h 6645336"/>
              <a:gd name="connsiteX5" fmla="*/ 0 w 8933323"/>
              <a:gd name="connsiteY5" fmla="*/ 1653 h 6645336"/>
              <a:gd name="connsiteX0" fmla="*/ 0 w 8927517"/>
              <a:gd name="connsiteY0" fmla="*/ 1653 h 6645336"/>
              <a:gd name="connsiteX1" fmla="*/ 7971347 w 8927517"/>
              <a:gd name="connsiteY1" fmla="*/ 0 h 6645336"/>
              <a:gd name="connsiteX2" fmla="*/ 8927517 w 8927517"/>
              <a:gd name="connsiteY2" fmla="*/ 6645336 h 6645336"/>
              <a:gd name="connsiteX3" fmla="*/ 579722 w 8927517"/>
              <a:gd name="connsiteY3" fmla="*/ 6635115 h 6645336"/>
              <a:gd name="connsiteX4" fmla="*/ 0 w 8927517"/>
              <a:gd name="connsiteY4" fmla="*/ 6055393 h 6645336"/>
              <a:gd name="connsiteX5" fmla="*/ 0 w 8927517"/>
              <a:gd name="connsiteY5" fmla="*/ 1653 h 6645336"/>
              <a:gd name="connsiteX0" fmla="*/ 0 w 7971422"/>
              <a:gd name="connsiteY0" fmla="*/ 1653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653 h 6645336"/>
              <a:gd name="connsiteX0" fmla="*/ 0 w 7971422"/>
              <a:gd name="connsiteY0" fmla="*/ 1301816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301816 h 6645336"/>
              <a:gd name="connsiteX0" fmla="*/ 0 w 7965616"/>
              <a:gd name="connsiteY0" fmla="*/ 1653 h 5345173"/>
              <a:gd name="connsiteX1" fmla="*/ 7957060 w 7965616"/>
              <a:gd name="connsiteY1" fmla="*/ 0 h 5345173"/>
              <a:gd name="connsiteX2" fmla="*/ 7965616 w 7965616"/>
              <a:gd name="connsiteY2" fmla="*/ 5345173 h 5345173"/>
              <a:gd name="connsiteX3" fmla="*/ 579722 w 7965616"/>
              <a:gd name="connsiteY3" fmla="*/ 5334952 h 5345173"/>
              <a:gd name="connsiteX4" fmla="*/ 0 w 7965616"/>
              <a:gd name="connsiteY4" fmla="*/ 4755230 h 5345173"/>
              <a:gd name="connsiteX5" fmla="*/ 0 w 7965616"/>
              <a:gd name="connsiteY5" fmla="*/ 1653 h 5345173"/>
              <a:gd name="connsiteX0" fmla="*/ 0 w 7971422"/>
              <a:gd name="connsiteY0" fmla="*/ 1653 h 5345173"/>
              <a:gd name="connsiteX1" fmla="*/ 7971347 w 7971422"/>
              <a:gd name="connsiteY1" fmla="*/ 0 h 5345173"/>
              <a:gd name="connsiteX2" fmla="*/ 7965616 w 7971422"/>
              <a:gd name="connsiteY2" fmla="*/ 5345173 h 5345173"/>
              <a:gd name="connsiteX3" fmla="*/ 579722 w 7971422"/>
              <a:gd name="connsiteY3" fmla="*/ 5334952 h 5345173"/>
              <a:gd name="connsiteX4" fmla="*/ 0 w 7971422"/>
              <a:gd name="connsiteY4" fmla="*/ 4755230 h 5345173"/>
              <a:gd name="connsiteX5" fmla="*/ 0 w 7971422"/>
              <a:gd name="connsiteY5" fmla="*/ 1653 h 5345173"/>
              <a:gd name="connsiteX0" fmla="*/ 0 w 7988356"/>
              <a:gd name="connsiteY0" fmla="*/ 187920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187920 h 5345173"/>
              <a:gd name="connsiteX0" fmla="*/ 0 w 7988356"/>
              <a:gd name="connsiteY0" fmla="*/ 210145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210145 h 5345173"/>
              <a:gd name="connsiteX0" fmla="*/ 0 w 7988356"/>
              <a:gd name="connsiteY0" fmla="*/ 0 h 5135028"/>
              <a:gd name="connsiteX1" fmla="*/ 7988281 w 7988356"/>
              <a:gd name="connsiteY1" fmla="*/ 7569 h 5135028"/>
              <a:gd name="connsiteX2" fmla="*/ 7982550 w 7988356"/>
              <a:gd name="connsiteY2" fmla="*/ 5135028 h 5135028"/>
              <a:gd name="connsiteX3" fmla="*/ 596656 w 7988356"/>
              <a:gd name="connsiteY3" fmla="*/ 5124807 h 5135028"/>
              <a:gd name="connsiteX4" fmla="*/ 16934 w 7988356"/>
              <a:gd name="connsiteY4" fmla="*/ 4545085 h 5135028"/>
              <a:gd name="connsiteX5" fmla="*/ 0 w 7988356"/>
              <a:gd name="connsiteY5" fmla="*/ 0 h 5135028"/>
              <a:gd name="connsiteX0" fmla="*/ 0 w 7982550"/>
              <a:gd name="connsiteY0" fmla="*/ 0 h 5135028"/>
              <a:gd name="connsiteX1" fmla="*/ 6028853 w 7982550"/>
              <a:gd name="connsiteY1" fmla="*/ 7569 h 5135028"/>
              <a:gd name="connsiteX2" fmla="*/ 7982550 w 7982550"/>
              <a:gd name="connsiteY2" fmla="*/ 5135028 h 5135028"/>
              <a:gd name="connsiteX3" fmla="*/ 596656 w 7982550"/>
              <a:gd name="connsiteY3" fmla="*/ 5124807 h 5135028"/>
              <a:gd name="connsiteX4" fmla="*/ 16934 w 7982550"/>
              <a:gd name="connsiteY4" fmla="*/ 4545085 h 5135028"/>
              <a:gd name="connsiteX5" fmla="*/ 0 w 7982550"/>
              <a:gd name="connsiteY5" fmla="*/ 0 h 5135028"/>
              <a:gd name="connsiteX0" fmla="*/ 0 w 6037636"/>
              <a:gd name="connsiteY0" fmla="*/ 0 h 5135028"/>
              <a:gd name="connsiteX1" fmla="*/ 6028853 w 6037636"/>
              <a:gd name="connsiteY1" fmla="*/ 7569 h 5135028"/>
              <a:gd name="connsiteX2" fmla="*/ 6037636 w 6037636"/>
              <a:gd name="connsiteY2" fmla="*/ 5135028 h 5135028"/>
              <a:gd name="connsiteX3" fmla="*/ 596656 w 6037636"/>
              <a:gd name="connsiteY3" fmla="*/ 5124807 h 5135028"/>
              <a:gd name="connsiteX4" fmla="*/ 16934 w 6037636"/>
              <a:gd name="connsiteY4" fmla="*/ 4545085 h 5135028"/>
              <a:gd name="connsiteX5" fmla="*/ 0 w 6037636"/>
              <a:gd name="connsiteY5" fmla="*/ 0 h 5135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37636" h="5135028">
                <a:moveTo>
                  <a:pt x="0" y="0"/>
                </a:moveTo>
                <a:lnTo>
                  <a:pt x="6028853" y="7569"/>
                </a:lnTo>
                <a:cubicBezTo>
                  <a:pt x="6029758" y="2154376"/>
                  <a:pt x="6036731" y="2988221"/>
                  <a:pt x="6037636" y="5135028"/>
                </a:cubicBezTo>
                <a:lnTo>
                  <a:pt x="596656" y="5124807"/>
                </a:lnTo>
                <a:cubicBezTo>
                  <a:pt x="276484" y="5124807"/>
                  <a:pt x="16934" y="4865257"/>
                  <a:pt x="16934" y="4545085"/>
                </a:cubicBezTo>
                <a:cubicBezTo>
                  <a:pt x="11289" y="3022648"/>
                  <a:pt x="5645" y="1522437"/>
                  <a:pt x="0" y="0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JP"/>
              <a:t>Insert Photo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D1F67940-C534-7E4A-ACD3-D94AF5FFD3C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0531" y="3178298"/>
            <a:ext cx="4074319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35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itle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7763AA1A-832E-D147-B41F-806ECDE44A6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530" y="3575904"/>
            <a:ext cx="4074320" cy="2859620"/>
          </a:xfrm>
        </p:spPr>
        <p:txBody>
          <a:bodyPr tIns="0" rIns="0" bIns="0" numCol="1">
            <a:noAutofit/>
          </a:bodyPr>
          <a:lstStyle>
            <a:lvl1pPr marL="128588" indent="-128588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 sz="1050" b="0">
                <a:solidFill>
                  <a:schemeClr val="tx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ext. </a:t>
            </a:r>
          </a:p>
        </p:txBody>
      </p:sp>
      <p:sp>
        <p:nvSpPr>
          <p:cNvPr id="24" name="タイトル プレースホルダ 1">
            <a:extLst>
              <a:ext uri="{FF2B5EF4-FFF2-40B4-BE49-F238E27FC236}">
                <a16:creationId xmlns:a16="http://schemas.microsoft.com/office/drawing/2014/main" id="{5150A056-0B7A-DD4A-A38C-26A39DB94D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7455190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23BB5B0-EC38-C74E-9B7F-D8140E54C071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7" name="スライド番号プレースホルダ 5">
            <a:extLst>
              <a:ext uri="{FF2B5EF4-FFF2-40B4-BE49-F238E27FC236}">
                <a16:creationId xmlns:a16="http://schemas.microsoft.com/office/drawing/2014/main" id="{42B46CEA-C682-B846-A029-CD9FE12FF7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914108"/>
            <a:fld id="{E9B57936-92EF-4126-AE48-1D9D36D15E98}" type="slidenum">
              <a:rPr lang="ja-JP" altLang="en-US" smtClean="0"/>
              <a:pPr defTabSz="914108"/>
              <a:t>‹#›</a:t>
            </a:fld>
            <a:endParaRPr lang="ja-JP" altLang="en-US"/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FA0BC325-8F09-754C-A71C-82A8AF93AF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26121FE7-559E-0846-8166-1968C2ECA72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0530" y="1491374"/>
            <a:ext cx="4071497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/>
            </a:lvl1pPr>
            <a:lvl2pPr marL="342801" indent="0">
              <a:buNone/>
              <a:defRPr sz="1350" b="1"/>
            </a:lvl2pPr>
            <a:lvl3pPr marL="685612" indent="0">
              <a:buNone/>
              <a:defRPr sz="1350" b="1"/>
            </a:lvl3pPr>
            <a:lvl4pPr marL="1028414" indent="0">
              <a:buNone/>
              <a:defRPr sz="1350" b="1"/>
            </a:lvl4pPr>
            <a:lvl5pPr marL="1371218" indent="0">
              <a:buNone/>
              <a:defRPr sz="135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981616AD-5FCE-F341-B307-479047B75A2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0531" y="1093767"/>
            <a:ext cx="4071496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50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Primary Title</a:t>
            </a:r>
          </a:p>
        </p:txBody>
      </p:sp>
      <p:pic>
        <p:nvPicPr>
          <p:cNvPr id="13" name="Picture 12" descr="Takeda">
            <a:extLst>
              <a:ext uri="{FF2B5EF4-FFF2-40B4-BE49-F238E27FC236}">
                <a16:creationId xmlns:a16="http://schemas.microsoft.com/office/drawing/2014/main" id="{964C8602-CDC3-4AA2-8413-A687C7E539A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3373" y="-1615"/>
            <a:ext cx="1272174" cy="940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389426"/>
      </p:ext>
    </p:extLst>
  </p:cSld>
  <p:clrMapOvr>
    <a:masterClrMapping/>
  </p:clrMapOvr>
  <p:transition spd="slow">
    <p:push dir="u"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dvanced 1/2 Image (Full Ble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DA0F537B-2380-C640-8119-936AD77864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639091" y="-5494"/>
            <a:ext cx="4518288" cy="6863494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33463"/>
              <a:gd name="connsiteX1" fmla="*/ 8912928 w 8915642"/>
              <a:gd name="connsiteY1" fmla="*/ 191388 h 6633463"/>
              <a:gd name="connsiteX2" fmla="*/ 8915642 w 8915642"/>
              <a:gd name="connsiteY2" fmla="*/ 6631809 h 6633463"/>
              <a:gd name="connsiteX3" fmla="*/ 579722 w 8915642"/>
              <a:gd name="connsiteY3" fmla="*/ 6633463 h 6633463"/>
              <a:gd name="connsiteX4" fmla="*/ 0 w 8915642"/>
              <a:gd name="connsiteY4" fmla="*/ 6053741 h 6633463"/>
              <a:gd name="connsiteX5" fmla="*/ 0 w 8915642"/>
              <a:gd name="connsiteY5" fmla="*/ 1 h 6633463"/>
              <a:gd name="connsiteX0" fmla="*/ 0 w 8933278"/>
              <a:gd name="connsiteY0" fmla="*/ 1653 h 6635115"/>
              <a:gd name="connsiteX1" fmla="*/ 8933248 w 8933278"/>
              <a:gd name="connsiteY1" fmla="*/ 0 h 6635115"/>
              <a:gd name="connsiteX2" fmla="*/ 8915642 w 8933278"/>
              <a:gd name="connsiteY2" fmla="*/ 6633461 h 6635115"/>
              <a:gd name="connsiteX3" fmla="*/ 579722 w 8933278"/>
              <a:gd name="connsiteY3" fmla="*/ 6635115 h 6635115"/>
              <a:gd name="connsiteX4" fmla="*/ 0 w 8933278"/>
              <a:gd name="connsiteY4" fmla="*/ 6055393 h 6635115"/>
              <a:gd name="connsiteX5" fmla="*/ 0 w 8933278"/>
              <a:gd name="connsiteY5" fmla="*/ 1653 h 6635115"/>
              <a:gd name="connsiteX0" fmla="*/ 0 w 8933323"/>
              <a:gd name="connsiteY0" fmla="*/ 1653 h 6645336"/>
              <a:gd name="connsiteX1" fmla="*/ 8933248 w 8933323"/>
              <a:gd name="connsiteY1" fmla="*/ 0 h 6645336"/>
              <a:gd name="connsiteX2" fmla="*/ 8927517 w 8933323"/>
              <a:gd name="connsiteY2" fmla="*/ 6645336 h 6645336"/>
              <a:gd name="connsiteX3" fmla="*/ 579722 w 8933323"/>
              <a:gd name="connsiteY3" fmla="*/ 6635115 h 6645336"/>
              <a:gd name="connsiteX4" fmla="*/ 0 w 8933323"/>
              <a:gd name="connsiteY4" fmla="*/ 6055393 h 6645336"/>
              <a:gd name="connsiteX5" fmla="*/ 0 w 8933323"/>
              <a:gd name="connsiteY5" fmla="*/ 1653 h 6645336"/>
              <a:gd name="connsiteX0" fmla="*/ 0 w 8927517"/>
              <a:gd name="connsiteY0" fmla="*/ 1653 h 6645336"/>
              <a:gd name="connsiteX1" fmla="*/ 7971347 w 8927517"/>
              <a:gd name="connsiteY1" fmla="*/ 0 h 6645336"/>
              <a:gd name="connsiteX2" fmla="*/ 8927517 w 8927517"/>
              <a:gd name="connsiteY2" fmla="*/ 6645336 h 6645336"/>
              <a:gd name="connsiteX3" fmla="*/ 579722 w 8927517"/>
              <a:gd name="connsiteY3" fmla="*/ 6635115 h 6645336"/>
              <a:gd name="connsiteX4" fmla="*/ 0 w 8927517"/>
              <a:gd name="connsiteY4" fmla="*/ 6055393 h 6645336"/>
              <a:gd name="connsiteX5" fmla="*/ 0 w 8927517"/>
              <a:gd name="connsiteY5" fmla="*/ 1653 h 6645336"/>
              <a:gd name="connsiteX0" fmla="*/ 0 w 7971422"/>
              <a:gd name="connsiteY0" fmla="*/ 1653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653 h 6645336"/>
              <a:gd name="connsiteX0" fmla="*/ 0 w 7971422"/>
              <a:gd name="connsiteY0" fmla="*/ 1301816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301816 h 6645336"/>
              <a:gd name="connsiteX0" fmla="*/ 0 w 7965616"/>
              <a:gd name="connsiteY0" fmla="*/ 1653 h 5345173"/>
              <a:gd name="connsiteX1" fmla="*/ 7957060 w 7965616"/>
              <a:gd name="connsiteY1" fmla="*/ 0 h 5345173"/>
              <a:gd name="connsiteX2" fmla="*/ 7965616 w 7965616"/>
              <a:gd name="connsiteY2" fmla="*/ 5345173 h 5345173"/>
              <a:gd name="connsiteX3" fmla="*/ 579722 w 7965616"/>
              <a:gd name="connsiteY3" fmla="*/ 5334952 h 5345173"/>
              <a:gd name="connsiteX4" fmla="*/ 0 w 7965616"/>
              <a:gd name="connsiteY4" fmla="*/ 4755230 h 5345173"/>
              <a:gd name="connsiteX5" fmla="*/ 0 w 7965616"/>
              <a:gd name="connsiteY5" fmla="*/ 1653 h 5345173"/>
              <a:gd name="connsiteX0" fmla="*/ 0 w 7971422"/>
              <a:gd name="connsiteY0" fmla="*/ 1653 h 5345173"/>
              <a:gd name="connsiteX1" fmla="*/ 7971347 w 7971422"/>
              <a:gd name="connsiteY1" fmla="*/ 0 h 5345173"/>
              <a:gd name="connsiteX2" fmla="*/ 7965616 w 7971422"/>
              <a:gd name="connsiteY2" fmla="*/ 5345173 h 5345173"/>
              <a:gd name="connsiteX3" fmla="*/ 579722 w 7971422"/>
              <a:gd name="connsiteY3" fmla="*/ 5334952 h 5345173"/>
              <a:gd name="connsiteX4" fmla="*/ 0 w 7971422"/>
              <a:gd name="connsiteY4" fmla="*/ 4755230 h 5345173"/>
              <a:gd name="connsiteX5" fmla="*/ 0 w 7971422"/>
              <a:gd name="connsiteY5" fmla="*/ 1653 h 5345173"/>
              <a:gd name="connsiteX0" fmla="*/ 0 w 7988356"/>
              <a:gd name="connsiteY0" fmla="*/ 187920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187920 h 5345173"/>
              <a:gd name="connsiteX0" fmla="*/ 0 w 7988356"/>
              <a:gd name="connsiteY0" fmla="*/ 210145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210145 h 5345173"/>
              <a:gd name="connsiteX0" fmla="*/ 0 w 7988356"/>
              <a:gd name="connsiteY0" fmla="*/ 0 h 5135028"/>
              <a:gd name="connsiteX1" fmla="*/ 7988281 w 7988356"/>
              <a:gd name="connsiteY1" fmla="*/ 7569 h 5135028"/>
              <a:gd name="connsiteX2" fmla="*/ 7982550 w 7988356"/>
              <a:gd name="connsiteY2" fmla="*/ 5135028 h 5135028"/>
              <a:gd name="connsiteX3" fmla="*/ 596656 w 7988356"/>
              <a:gd name="connsiteY3" fmla="*/ 5124807 h 5135028"/>
              <a:gd name="connsiteX4" fmla="*/ 16934 w 7988356"/>
              <a:gd name="connsiteY4" fmla="*/ 4545085 h 5135028"/>
              <a:gd name="connsiteX5" fmla="*/ 0 w 7988356"/>
              <a:gd name="connsiteY5" fmla="*/ 0 h 5135028"/>
              <a:gd name="connsiteX0" fmla="*/ 0 w 7982550"/>
              <a:gd name="connsiteY0" fmla="*/ 0 h 5135028"/>
              <a:gd name="connsiteX1" fmla="*/ 6028853 w 7982550"/>
              <a:gd name="connsiteY1" fmla="*/ 7569 h 5135028"/>
              <a:gd name="connsiteX2" fmla="*/ 7982550 w 7982550"/>
              <a:gd name="connsiteY2" fmla="*/ 5135028 h 5135028"/>
              <a:gd name="connsiteX3" fmla="*/ 596656 w 7982550"/>
              <a:gd name="connsiteY3" fmla="*/ 5124807 h 5135028"/>
              <a:gd name="connsiteX4" fmla="*/ 16934 w 7982550"/>
              <a:gd name="connsiteY4" fmla="*/ 4545085 h 5135028"/>
              <a:gd name="connsiteX5" fmla="*/ 0 w 7982550"/>
              <a:gd name="connsiteY5" fmla="*/ 0 h 5135028"/>
              <a:gd name="connsiteX0" fmla="*/ 0 w 6037636"/>
              <a:gd name="connsiteY0" fmla="*/ 0 h 5135028"/>
              <a:gd name="connsiteX1" fmla="*/ 6028853 w 6037636"/>
              <a:gd name="connsiteY1" fmla="*/ 7569 h 5135028"/>
              <a:gd name="connsiteX2" fmla="*/ 6037636 w 6037636"/>
              <a:gd name="connsiteY2" fmla="*/ 5135028 h 5135028"/>
              <a:gd name="connsiteX3" fmla="*/ 596656 w 6037636"/>
              <a:gd name="connsiteY3" fmla="*/ 5124807 h 5135028"/>
              <a:gd name="connsiteX4" fmla="*/ 16934 w 6037636"/>
              <a:gd name="connsiteY4" fmla="*/ 4545085 h 5135028"/>
              <a:gd name="connsiteX5" fmla="*/ 0 w 6037636"/>
              <a:gd name="connsiteY5" fmla="*/ 0 h 5135028"/>
              <a:gd name="connsiteX0" fmla="*/ 0 w 6024384"/>
              <a:gd name="connsiteY0" fmla="*/ 0 h 6857810"/>
              <a:gd name="connsiteX1" fmla="*/ 6015601 w 6024384"/>
              <a:gd name="connsiteY1" fmla="*/ 1730351 h 6857810"/>
              <a:gd name="connsiteX2" fmla="*/ 6024384 w 6024384"/>
              <a:gd name="connsiteY2" fmla="*/ 6857810 h 6857810"/>
              <a:gd name="connsiteX3" fmla="*/ 583404 w 6024384"/>
              <a:gd name="connsiteY3" fmla="*/ 6847589 h 6857810"/>
              <a:gd name="connsiteX4" fmla="*/ 3682 w 6024384"/>
              <a:gd name="connsiteY4" fmla="*/ 6267867 h 6857810"/>
              <a:gd name="connsiteX5" fmla="*/ 0 w 6024384"/>
              <a:gd name="connsiteY5" fmla="*/ 0 h 6857810"/>
              <a:gd name="connsiteX0" fmla="*/ 0 w 6024384"/>
              <a:gd name="connsiteY0" fmla="*/ 5684 h 6863494"/>
              <a:gd name="connsiteX1" fmla="*/ 6002349 w 6024384"/>
              <a:gd name="connsiteY1" fmla="*/ 0 h 6863494"/>
              <a:gd name="connsiteX2" fmla="*/ 6024384 w 6024384"/>
              <a:gd name="connsiteY2" fmla="*/ 6863494 h 6863494"/>
              <a:gd name="connsiteX3" fmla="*/ 583404 w 6024384"/>
              <a:gd name="connsiteY3" fmla="*/ 6853273 h 6863494"/>
              <a:gd name="connsiteX4" fmla="*/ 3682 w 6024384"/>
              <a:gd name="connsiteY4" fmla="*/ 6273551 h 6863494"/>
              <a:gd name="connsiteX5" fmla="*/ 0 w 6024384"/>
              <a:gd name="connsiteY5" fmla="*/ 5684 h 6863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24384" h="6863494">
                <a:moveTo>
                  <a:pt x="0" y="5684"/>
                </a:moveTo>
                <a:lnTo>
                  <a:pt x="6002349" y="0"/>
                </a:lnTo>
                <a:cubicBezTo>
                  <a:pt x="6003254" y="2146807"/>
                  <a:pt x="6023479" y="4716687"/>
                  <a:pt x="6024384" y="6863494"/>
                </a:cubicBezTo>
                <a:lnTo>
                  <a:pt x="583404" y="6853273"/>
                </a:lnTo>
                <a:cubicBezTo>
                  <a:pt x="263232" y="6853273"/>
                  <a:pt x="3682" y="6593723"/>
                  <a:pt x="3682" y="6273551"/>
                </a:cubicBezTo>
                <a:cubicBezTo>
                  <a:pt x="-1963" y="4751114"/>
                  <a:pt x="5645" y="1528121"/>
                  <a:pt x="0" y="5684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JP"/>
              <a:t>Insert Photo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925D82-457F-D84D-B8DF-D8ADFD7E71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4558" y="3178298"/>
            <a:ext cx="4060292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35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4558" y="3575904"/>
            <a:ext cx="4060292" cy="2859620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28588" indent="-128588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 sz="1050" b="0">
                <a:solidFill>
                  <a:schemeClr val="tx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ext. </a:t>
            </a:r>
          </a:p>
        </p:txBody>
      </p:sp>
      <p:sp>
        <p:nvSpPr>
          <p:cNvPr id="17" name="タイトル プレースホルダ 1">
            <a:extLst>
              <a:ext uri="{FF2B5EF4-FFF2-40B4-BE49-F238E27FC236}">
                <a16:creationId xmlns:a16="http://schemas.microsoft.com/office/drawing/2014/main" id="{86D6FEA8-06E4-474A-8491-CD1DDAE7D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4060292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EDBCF76-3461-2245-8BB1-FA50AE27F6CA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2" name="スライド番号プレースホルダ 5">
            <a:extLst>
              <a:ext uri="{FF2B5EF4-FFF2-40B4-BE49-F238E27FC236}">
                <a16:creationId xmlns:a16="http://schemas.microsoft.com/office/drawing/2014/main" id="{FB98B4FE-9AC1-D142-89B5-4D3791685B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914108"/>
            <a:fld id="{E9B57936-92EF-4126-AE48-1D9D36D15E98}" type="slidenum">
              <a:rPr lang="ja-JP" altLang="en-US" smtClean="0"/>
              <a:pPr defTabSz="914108"/>
              <a:t>‹#›</a:t>
            </a:fld>
            <a:endParaRPr lang="ja-JP" altLang="en-US"/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7D5A74AA-F0D3-9243-967D-FEA6F7A20BC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8" y="6523002"/>
            <a:ext cx="4060292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D16C870C-B0F9-5A43-81FD-66BD75CC33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0530" y="1491374"/>
            <a:ext cx="4071497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/>
            </a:lvl1pPr>
            <a:lvl2pPr marL="342801" indent="0">
              <a:buNone/>
              <a:defRPr sz="1350" b="1"/>
            </a:lvl2pPr>
            <a:lvl3pPr marL="685612" indent="0">
              <a:buNone/>
              <a:defRPr sz="1350" b="1"/>
            </a:lvl3pPr>
            <a:lvl4pPr marL="1028414" indent="0">
              <a:buNone/>
              <a:defRPr sz="1350" b="1"/>
            </a:lvl4pPr>
            <a:lvl5pPr marL="1371218" indent="0">
              <a:buNone/>
              <a:defRPr sz="135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C64E591A-1A88-9244-AC81-5B42BFE347C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0531" y="1093767"/>
            <a:ext cx="4071496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50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Primary Title</a:t>
            </a:r>
          </a:p>
        </p:txBody>
      </p:sp>
    </p:spTree>
    <p:extLst>
      <p:ext uri="{BB962C8B-B14F-4D97-AF65-F5344CB8AC3E}">
        <p14:creationId xmlns:p14="http://schemas.microsoft.com/office/powerpoint/2010/main" val="3346128638"/>
      </p:ext>
    </p:extLst>
  </p:cSld>
  <p:clrMapOvr>
    <a:masterClrMapping/>
  </p:clrMapOvr>
  <p:transition spd="slow">
    <p:push dir="u"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dvanced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925D82-457F-D84D-B8DF-D8ADFD7E71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0531" y="3178298"/>
            <a:ext cx="5537863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35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530" y="3575905"/>
            <a:ext cx="5540687" cy="2859621"/>
          </a:xfrm>
          <a:prstGeom prst="rect">
            <a:avLst/>
          </a:prstGeom>
        </p:spPr>
        <p:txBody>
          <a:bodyPr tIns="0" rIns="0" bIns="0" numCol="2" spcCol="126000">
            <a:noAutofit/>
          </a:bodyPr>
          <a:lstStyle>
            <a:lvl1pPr marL="128588" indent="-128588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 sz="1050" b="0">
                <a:solidFill>
                  <a:schemeClr val="tx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ext.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54C5EE8-C42D-B549-B4D4-C0F00D68A42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102721" y="1093767"/>
            <a:ext cx="3052125" cy="5331536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33463"/>
              <a:gd name="connsiteX1" fmla="*/ 8912928 w 8915642"/>
              <a:gd name="connsiteY1" fmla="*/ 191388 h 6633463"/>
              <a:gd name="connsiteX2" fmla="*/ 8915642 w 8915642"/>
              <a:gd name="connsiteY2" fmla="*/ 6631809 h 6633463"/>
              <a:gd name="connsiteX3" fmla="*/ 579722 w 8915642"/>
              <a:gd name="connsiteY3" fmla="*/ 6633463 h 6633463"/>
              <a:gd name="connsiteX4" fmla="*/ 0 w 8915642"/>
              <a:gd name="connsiteY4" fmla="*/ 6053741 h 6633463"/>
              <a:gd name="connsiteX5" fmla="*/ 0 w 8915642"/>
              <a:gd name="connsiteY5" fmla="*/ 1 h 6633463"/>
              <a:gd name="connsiteX0" fmla="*/ 0 w 8933278"/>
              <a:gd name="connsiteY0" fmla="*/ 1653 h 6635115"/>
              <a:gd name="connsiteX1" fmla="*/ 8933248 w 8933278"/>
              <a:gd name="connsiteY1" fmla="*/ 0 h 6635115"/>
              <a:gd name="connsiteX2" fmla="*/ 8915642 w 8933278"/>
              <a:gd name="connsiteY2" fmla="*/ 6633461 h 6635115"/>
              <a:gd name="connsiteX3" fmla="*/ 579722 w 8933278"/>
              <a:gd name="connsiteY3" fmla="*/ 6635115 h 6635115"/>
              <a:gd name="connsiteX4" fmla="*/ 0 w 8933278"/>
              <a:gd name="connsiteY4" fmla="*/ 6055393 h 6635115"/>
              <a:gd name="connsiteX5" fmla="*/ 0 w 8933278"/>
              <a:gd name="connsiteY5" fmla="*/ 1653 h 6635115"/>
              <a:gd name="connsiteX0" fmla="*/ 0 w 8933323"/>
              <a:gd name="connsiteY0" fmla="*/ 1653 h 6645336"/>
              <a:gd name="connsiteX1" fmla="*/ 8933248 w 8933323"/>
              <a:gd name="connsiteY1" fmla="*/ 0 h 6645336"/>
              <a:gd name="connsiteX2" fmla="*/ 8927517 w 8933323"/>
              <a:gd name="connsiteY2" fmla="*/ 6645336 h 6645336"/>
              <a:gd name="connsiteX3" fmla="*/ 579722 w 8933323"/>
              <a:gd name="connsiteY3" fmla="*/ 6635115 h 6645336"/>
              <a:gd name="connsiteX4" fmla="*/ 0 w 8933323"/>
              <a:gd name="connsiteY4" fmla="*/ 6055393 h 6645336"/>
              <a:gd name="connsiteX5" fmla="*/ 0 w 8933323"/>
              <a:gd name="connsiteY5" fmla="*/ 1653 h 6645336"/>
              <a:gd name="connsiteX0" fmla="*/ 0 w 8927517"/>
              <a:gd name="connsiteY0" fmla="*/ 1653 h 6645336"/>
              <a:gd name="connsiteX1" fmla="*/ 7971347 w 8927517"/>
              <a:gd name="connsiteY1" fmla="*/ 0 h 6645336"/>
              <a:gd name="connsiteX2" fmla="*/ 8927517 w 8927517"/>
              <a:gd name="connsiteY2" fmla="*/ 6645336 h 6645336"/>
              <a:gd name="connsiteX3" fmla="*/ 579722 w 8927517"/>
              <a:gd name="connsiteY3" fmla="*/ 6635115 h 6645336"/>
              <a:gd name="connsiteX4" fmla="*/ 0 w 8927517"/>
              <a:gd name="connsiteY4" fmla="*/ 6055393 h 6645336"/>
              <a:gd name="connsiteX5" fmla="*/ 0 w 8927517"/>
              <a:gd name="connsiteY5" fmla="*/ 1653 h 6645336"/>
              <a:gd name="connsiteX0" fmla="*/ 0 w 7971422"/>
              <a:gd name="connsiteY0" fmla="*/ 1653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653 h 6645336"/>
              <a:gd name="connsiteX0" fmla="*/ 0 w 7971422"/>
              <a:gd name="connsiteY0" fmla="*/ 1301816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301816 h 6645336"/>
              <a:gd name="connsiteX0" fmla="*/ 0 w 7965616"/>
              <a:gd name="connsiteY0" fmla="*/ 1653 h 5345173"/>
              <a:gd name="connsiteX1" fmla="*/ 7957060 w 7965616"/>
              <a:gd name="connsiteY1" fmla="*/ 0 h 5345173"/>
              <a:gd name="connsiteX2" fmla="*/ 7965616 w 7965616"/>
              <a:gd name="connsiteY2" fmla="*/ 5345173 h 5345173"/>
              <a:gd name="connsiteX3" fmla="*/ 579722 w 7965616"/>
              <a:gd name="connsiteY3" fmla="*/ 5334952 h 5345173"/>
              <a:gd name="connsiteX4" fmla="*/ 0 w 7965616"/>
              <a:gd name="connsiteY4" fmla="*/ 4755230 h 5345173"/>
              <a:gd name="connsiteX5" fmla="*/ 0 w 7965616"/>
              <a:gd name="connsiteY5" fmla="*/ 1653 h 5345173"/>
              <a:gd name="connsiteX0" fmla="*/ 0 w 7971422"/>
              <a:gd name="connsiteY0" fmla="*/ 1653 h 5345173"/>
              <a:gd name="connsiteX1" fmla="*/ 7971347 w 7971422"/>
              <a:gd name="connsiteY1" fmla="*/ 0 h 5345173"/>
              <a:gd name="connsiteX2" fmla="*/ 7965616 w 7971422"/>
              <a:gd name="connsiteY2" fmla="*/ 5345173 h 5345173"/>
              <a:gd name="connsiteX3" fmla="*/ 579722 w 7971422"/>
              <a:gd name="connsiteY3" fmla="*/ 5334952 h 5345173"/>
              <a:gd name="connsiteX4" fmla="*/ 0 w 7971422"/>
              <a:gd name="connsiteY4" fmla="*/ 4755230 h 5345173"/>
              <a:gd name="connsiteX5" fmla="*/ 0 w 7971422"/>
              <a:gd name="connsiteY5" fmla="*/ 1653 h 5345173"/>
              <a:gd name="connsiteX0" fmla="*/ 0 w 7988356"/>
              <a:gd name="connsiteY0" fmla="*/ 187920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187920 h 5345173"/>
              <a:gd name="connsiteX0" fmla="*/ 0 w 7988356"/>
              <a:gd name="connsiteY0" fmla="*/ 210145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210145 h 5345173"/>
              <a:gd name="connsiteX0" fmla="*/ 0 w 7988356"/>
              <a:gd name="connsiteY0" fmla="*/ 0 h 5135028"/>
              <a:gd name="connsiteX1" fmla="*/ 7988281 w 7988356"/>
              <a:gd name="connsiteY1" fmla="*/ 7569 h 5135028"/>
              <a:gd name="connsiteX2" fmla="*/ 7982550 w 7988356"/>
              <a:gd name="connsiteY2" fmla="*/ 5135028 h 5135028"/>
              <a:gd name="connsiteX3" fmla="*/ 596656 w 7988356"/>
              <a:gd name="connsiteY3" fmla="*/ 5124807 h 5135028"/>
              <a:gd name="connsiteX4" fmla="*/ 16934 w 7988356"/>
              <a:gd name="connsiteY4" fmla="*/ 4545085 h 5135028"/>
              <a:gd name="connsiteX5" fmla="*/ 0 w 7988356"/>
              <a:gd name="connsiteY5" fmla="*/ 0 h 5135028"/>
              <a:gd name="connsiteX0" fmla="*/ 0 w 7982550"/>
              <a:gd name="connsiteY0" fmla="*/ 0 h 5135028"/>
              <a:gd name="connsiteX1" fmla="*/ 6028853 w 7982550"/>
              <a:gd name="connsiteY1" fmla="*/ 7569 h 5135028"/>
              <a:gd name="connsiteX2" fmla="*/ 7982550 w 7982550"/>
              <a:gd name="connsiteY2" fmla="*/ 5135028 h 5135028"/>
              <a:gd name="connsiteX3" fmla="*/ 596656 w 7982550"/>
              <a:gd name="connsiteY3" fmla="*/ 5124807 h 5135028"/>
              <a:gd name="connsiteX4" fmla="*/ 16934 w 7982550"/>
              <a:gd name="connsiteY4" fmla="*/ 4545085 h 5135028"/>
              <a:gd name="connsiteX5" fmla="*/ 0 w 7982550"/>
              <a:gd name="connsiteY5" fmla="*/ 0 h 5135028"/>
              <a:gd name="connsiteX0" fmla="*/ 0 w 6037636"/>
              <a:gd name="connsiteY0" fmla="*/ 0 h 5135028"/>
              <a:gd name="connsiteX1" fmla="*/ 6028853 w 6037636"/>
              <a:gd name="connsiteY1" fmla="*/ 7569 h 5135028"/>
              <a:gd name="connsiteX2" fmla="*/ 6037636 w 6037636"/>
              <a:gd name="connsiteY2" fmla="*/ 5135028 h 5135028"/>
              <a:gd name="connsiteX3" fmla="*/ 596656 w 6037636"/>
              <a:gd name="connsiteY3" fmla="*/ 5124807 h 5135028"/>
              <a:gd name="connsiteX4" fmla="*/ 16934 w 6037636"/>
              <a:gd name="connsiteY4" fmla="*/ 4545085 h 5135028"/>
              <a:gd name="connsiteX5" fmla="*/ 0 w 6037636"/>
              <a:gd name="connsiteY5" fmla="*/ 0 h 5135028"/>
              <a:gd name="connsiteX0" fmla="*/ 0 w 6028853"/>
              <a:gd name="connsiteY0" fmla="*/ 0 h 5124807"/>
              <a:gd name="connsiteX1" fmla="*/ 6028853 w 6028853"/>
              <a:gd name="connsiteY1" fmla="*/ 7569 h 5124807"/>
              <a:gd name="connsiteX2" fmla="*/ 4063693 w 6028853"/>
              <a:gd name="connsiteY2" fmla="*/ 5105999 h 5124807"/>
              <a:gd name="connsiteX3" fmla="*/ 596656 w 6028853"/>
              <a:gd name="connsiteY3" fmla="*/ 5124807 h 5124807"/>
              <a:gd name="connsiteX4" fmla="*/ 16934 w 6028853"/>
              <a:gd name="connsiteY4" fmla="*/ 4545085 h 5124807"/>
              <a:gd name="connsiteX5" fmla="*/ 0 w 6028853"/>
              <a:gd name="connsiteY5" fmla="*/ 0 h 5124807"/>
              <a:gd name="connsiteX0" fmla="*/ 0 w 4069500"/>
              <a:gd name="connsiteY0" fmla="*/ 0 h 5124807"/>
              <a:gd name="connsiteX1" fmla="*/ 4069425 w 4069500"/>
              <a:gd name="connsiteY1" fmla="*/ 7569 h 5124807"/>
              <a:gd name="connsiteX2" fmla="*/ 4063693 w 4069500"/>
              <a:gd name="connsiteY2" fmla="*/ 5105999 h 5124807"/>
              <a:gd name="connsiteX3" fmla="*/ 596656 w 4069500"/>
              <a:gd name="connsiteY3" fmla="*/ 5124807 h 5124807"/>
              <a:gd name="connsiteX4" fmla="*/ 16934 w 4069500"/>
              <a:gd name="connsiteY4" fmla="*/ 4545085 h 5124807"/>
              <a:gd name="connsiteX5" fmla="*/ 0 w 4069500"/>
              <a:gd name="connsiteY5" fmla="*/ 0 h 5124807"/>
              <a:gd name="connsiteX0" fmla="*/ 0 w 4069500"/>
              <a:gd name="connsiteY0" fmla="*/ 6946 h 5131753"/>
              <a:gd name="connsiteX1" fmla="*/ 4069425 w 4069500"/>
              <a:gd name="connsiteY1" fmla="*/ 0 h 5131753"/>
              <a:gd name="connsiteX2" fmla="*/ 4063693 w 4069500"/>
              <a:gd name="connsiteY2" fmla="*/ 5112945 h 5131753"/>
              <a:gd name="connsiteX3" fmla="*/ 596656 w 4069500"/>
              <a:gd name="connsiteY3" fmla="*/ 5131753 h 5131753"/>
              <a:gd name="connsiteX4" fmla="*/ 16934 w 4069500"/>
              <a:gd name="connsiteY4" fmla="*/ 4552031 h 5131753"/>
              <a:gd name="connsiteX5" fmla="*/ 0 w 4069500"/>
              <a:gd name="connsiteY5" fmla="*/ 6946 h 51317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69500" h="5131753">
                <a:moveTo>
                  <a:pt x="0" y="6946"/>
                </a:moveTo>
                <a:lnTo>
                  <a:pt x="4069425" y="0"/>
                </a:lnTo>
                <a:cubicBezTo>
                  <a:pt x="4070330" y="2146807"/>
                  <a:pt x="4062788" y="2966138"/>
                  <a:pt x="4063693" y="5112945"/>
                </a:cubicBezTo>
                <a:lnTo>
                  <a:pt x="596656" y="5131753"/>
                </a:lnTo>
                <a:cubicBezTo>
                  <a:pt x="276484" y="5131753"/>
                  <a:pt x="16934" y="4872203"/>
                  <a:pt x="16934" y="4552031"/>
                </a:cubicBezTo>
                <a:cubicBezTo>
                  <a:pt x="11289" y="3029594"/>
                  <a:pt x="5645" y="1529383"/>
                  <a:pt x="0" y="6946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JP"/>
              <a:t>Insert Photo</a:t>
            </a:r>
          </a:p>
        </p:txBody>
      </p:sp>
      <p:sp>
        <p:nvSpPr>
          <p:cNvPr id="17" name="タイトル プレースホルダ 1">
            <a:extLst>
              <a:ext uri="{FF2B5EF4-FFF2-40B4-BE49-F238E27FC236}">
                <a16:creationId xmlns:a16="http://schemas.microsoft.com/office/drawing/2014/main" id="{CCEDFD04-9A53-9241-851E-1D01DC555A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7455190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20" name="Footer Placeholder 8">
            <a:extLst>
              <a:ext uri="{FF2B5EF4-FFF2-40B4-BE49-F238E27FC236}">
                <a16:creationId xmlns:a16="http://schemas.microsoft.com/office/drawing/2014/main" id="{1E1D8887-7EAE-1A40-9285-7C632FEAA8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24538" y="6523002"/>
            <a:ext cx="30861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600" b="1" spc="75" baseline="0">
                <a:solidFill>
                  <a:schemeClr val="tx1"/>
                </a:solidFill>
              </a:defRPr>
            </a:lvl1pPr>
          </a:lstStyle>
          <a:p>
            <a:r>
              <a:rPr lang="en-JP"/>
              <a:t> 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65B3EBD-E4F5-8E40-B07A-C04F3B1E7F2C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6" name="スライド番号プレースホルダ 5">
            <a:extLst>
              <a:ext uri="{FF2B5EF4-FFF2-40B4-BE49-F238E27FC236}">
                <a16:creationId xmlns:a16="http://schemas.microsoft.com/office/drawing/2014/main" id="{3D5D14EF-A351-224D-8142-E1BEE44BBC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914108"/>
            <a:fld id="{E9B57936-92EF-4126-AE48-1D9D36D15E98}" type="slidenum">
              <a:rPr lang="ja-JP" altLang="en-US" smtClean="0"/>
              <a:pPr defTabSz="914108"/>
              <a:t>‹#›</a:t>
            </a:fld>
            <a:endParaRPr lang="ja-JP" altLang="en-US"/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4D0A49B6-0BCC-C545-BF97-504B63062F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82FCE78-36AB-904B-98A8-CE3FFB1555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0531" y="1491374"/>
            <a:ext cx="5537862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/>
            </a:lvl1pPr>
            <a:lvl2pPr marL="342801" indent="0">
              <a:buNone/>
              <a:defRPr sz="1350" b="1"/>
            </a:lvl2pPr>
            <a:lvl3pPr marL="685612" indent="0">
              <a:buNone/>
              <a:defRPr sz="1350" b="1"/>
            </a:lvl3pPr>
            <a:lvl4pPr marL="1028414" indent="0">
              <a:buNone/>
              <a:defRPr sz="1350" b="1"/>
            </a:lvl4pPr>
            <a:lvl5pPr marL="1371218" indent="0">
              <a:buNone/>
              <a:defRPr sz="135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2ECF95F-F25E-8248-A0F3-BB1749A1B40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4559" y="1093767"/>
            <a:ext cx="5523834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50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Primary Title</a:t>
            </a:r>
          </a:p>
        </p:txBody>
      </p:sp>
      <p:pic>
        <p:nvPicPr>
          <p:cNvPr id="13" name="Picture 12" descr="Takeda">
            <a:extLst>
              <a:ext uri="{FF2B5EF4-FFF2-40B4-BE49-F238E27FC236}">
                <a16:creationId xmlns:a16="http://schemas.microsoft.com/office/drawing/2014/main" id="{4DBDCFC0-9C86-415D-9E83-9607D942219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3373" y="-1615"/>
            <a:ext cx="1272174" cy="940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978517"/>
      </p:ext>
    </p:extLst>
  </p:cSld>
  <p:clrMapOvr>
    <a:masterClrMapping/>
  </p:clrMapOvr>
  <p:transition spd="slow">
    <p:push dir="u"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dvanced 1/3 Image (Full Ble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925D82-457F-D84D-B8DF-D8ADFD7E71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4558" y="3178298"/>
            <a:ext cx="4060292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35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480" y="3575905"/>
            <a:ext cx="5569737" cy="2859621"/>
          </a:xfrm>
          <a:prstGeom prst="rect">
            <a:avLst/>
          </a:prstGeom>
        </p:spPr>
        <p:txBody>
          <a:bodyPr tIns="0" rIns="0" bIns="0" numCol="2" spcCol="126000">
            <a:noAutofit/>
          </a:bodyPr>
          <a:lstStyle>
            <a:lvl1pPr marL="128588" indent="-128588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 sz="1050" b="0">
                <a:solidFill>
                  <a:schemeClr val="tx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ext.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54C5EE8-C42D-B549-B4D4-C0F00D68A42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92781" y="-1378"/>
            <a:ext cx="3057710" cy="6860842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33463"/>
              <a:gd name="connsiteX1" fmla="*/ 8912928 w 8915642"/>
              <a:gd name="connsiteY1" fmla="*/ 191388 h 6633463"/>
              <a:gd name="connsiteX2" fmla="*/ 8915642 w 8915642"/>
              <a:gd name="connsiteY2" fmla="*/ 6631809 h 6633463"/>
              <a:gd name="connsiteX3" fmla="*/ 579722 w 8915642"/>
              <a:gd name="connsiteY3" fmla="*/ 6633463 h 6633463"/>
              <a:gd name="connsiteX4" fmla="*/ 0 w 8915642"/>
              <a:gd name="connsiteY4" fmla="*/ 6053741 h 6633463"/>
              <a:gd name="connsiteX5" fmla="*/ 0 w 8915642"/>
              <a:gd name="connsiteY5" fmla="*/ 1 h 6633463"/>
              <a:gd name="connsiteX0" fmla="*/ 0 w 8933278"/>
              <a:gd name="connsiteY0" fmla="*/ 1653 h 6635115"/>
              <a:gd name="connsiteX1" fmla="*/ 8933248 w 8933278"/>
              <a:gd name="connsiteY1" fmla="*/ 0 h 6635115"/>
              <a:gd name="connsiteX2" fmla="*/ 8915642 w 8933278"/>
              <a:gd name="connsiteY2" fmla="*/ 6633461 h 6635115"/>
              <a:gd name="connsiteX3" fmla="*/ 579722 w 8933278"/>
              <a:gd name="connsiteY3" fmla="*/ 6635115 h 6635115"/>
              <a:gd name="connsiteX4" fmla="*/ 0 w 8933278"/>
              <a:gd name="connsiteY4" fmla="*/ 6055393 h 6635115"/>
              <a:gd name="connsiteX5" fmla="*/ 0 w 8933278"/>
              <a:gd name="connsiteY5" fmla="*/ 1653 h 6635115"/>
              <a:gd name="connsiteX0" fmla="*/ 0 w 8933323"/>
              <a:gd name="connsiteY0" fmla="*/ 1653 h 6645336"/>
              <a:gd name="connsiteX1" fmla="*/ 8933248 w 8933323"/>
              <a:gd name="connsiteY1" fmla="*/ 0 h 6645336"/>
              <a:gd name="connsiteX2" fmla="*/ 8927517 w 8933323"/>
              <a:gd name="connsiteY2" fmla="*/ 6645336 h 6645336"/>
              <a:gd name="connsiteX3" fmla="*/ 579722 w 8933323"/>
              <a:gd name="connsiteY3" fmla="*/ 6635115 h 6645336"/>
              <a:gd name="connsiteX4" fmla="*/ 0 w 8933323"/>
              <a:gd name="connsiteY4" fmla="*/ 6055393 h 6645336"/>
              <a:gd name="connsiteX5" fmla="*/ 0 w 8933323"/>
              <a:gd name="connsiteY5" fmla="*/ 1653 h 6645336"/>
              <a:gd name="connsiteX0" fmla="*/ 0 w 8927517"/>
              <a:gd name="connsiteY0" fmla="*/ 1653 h 6645336"/>
              <a:gd name="connsiteX1" fmla="*/ 7971347 w 8927517"/>
              <a:gd name="connsiteY1" fmla="*/ 0 h 6645336"/>
              <a:gd name="connsiteX2" fmla="*/ 8927517 w 8927517"/>
              <a:gd name="connsiteY2" fmla="*/ 6645336 h 6645336"/>
              <a:gd name="connsiteX3" fmla="*/ 579722 w 8927517"/>
              <a:gd name="connsiteY3" fmla="*/ 6635115 h 6645336"/>
              <a:gd name="connsiteX4" fmla="*/ 0 w 8927517"/>
              <a:gd name="connsiteY4" fmla="*/ 6055393 h 6645336"/>
              <a:gd name="connsiteX5" fmla="*/ 0 w 8927517"/>
              <a:gd name="connsiteY5" fmla="*/ 1653 h 6645336"/>
              <a:gd name="connsiteX0" fmla="*/ 0 w 7971422"/>
              <a:gd name="connsiteY0" fmla="*/ 1653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653 h 6645336"/>
              <a:gd name="connsiteX0" fmla="*/ 0 w 7971422"/>
              <a:gd name="connsiteY0" fmla="*/ 1301816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301816 h 6645336"/>
              <a:gd name="connsiteX0" fmla="*/ 0 w 7965616"/>
              <a:gd name="connsiteY0" fmla="*/ 1653 h 5345173"/>
              <a:gd name="connsiteX1" fmla="*/ 7957060 w 7965616"/>
              <a:gd name="connsiteY1" fmla="*/ 0 h 5345173"/>
              <a:gd name="connsiteX2" fmla="*/ 7965616 w 7965616"/>
              <a:gd name="connsiteY2" fmla="*/ 5345173 h 5345173"/>
              <a:gd name="connsiteX3" fmla="*/ 579722 w 7965616"/>
              <a:gd name="connsiteY3" fmla="*/ 5334952 h 5345173"/>
              <a:gd name="connsiteX4" fmla="*/ 0 w 7965616"/>
              <a:gd name="connsiteY4" fmla="*/ 4755230 h 5345173"/>
              <a:gd name="connsiteX5" fmla="*/ 0 w 7965616"/>
              <a:gd name="connsiteY5" fmla="*/ 1653 h 5345173"/>
              <a:gd name="connsiteX0" fmla="*/ 0 w 7971422"/>
              <a:gd name="connsiteY0" fmla="*/ 1653 h 5345173"/>
              <a:gd name="connsiteX1" fmla="*/ 7971347 w 7971422"/>
              <a:gd name="connsiteY1" fmla="*/ 0 h 5345173"/>
              <a:gd name="connsiteX2" fmla="*/ 7965616 w 7971422"/>
              <a:gd name="connsiteY2" fmla="*/ 5345173 h 5345173"/>
              <a:gd name="connsiteX3" fmla="*/ 579722 w 7971422"/>
              <a:gd name="connsiteY3" fmla="*/ 5334952 h 5345173"/>
              <a:gd name="connsiteX4" fmla="*/ 0 w 7971422"/>
              <a:gd name="connsiteY4" fmla="*/ 4755230 h 5345173"/>
              <a:gd name="connsiteX5" fmla="*/ 0 w 7971422"/>
              <a:gd name="connsiteY5" fmla="*/ 1653 h 5345173"/>
              <a:gd name="connsiteX0" fmla="*/ 0 w 7988356"/>
              <a:gd name="connsiteY0" fmla="*/ 187920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187920 h 5345173"/>
              <a:gd name="connsiteX0" fmla="*/ 0 w 7988356"/>
              <a:gd name="connsiteY0" fmla="*/ 210145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210145 h 5345173"/>
              <a:gd name="connsiteX0" fmla="*/ 0 w 7988356"/>
              <a:gd name="connsiteY0" fmla="*/ 0 h 5135028"/>
              <a:gd name="connsiteX1" fmla="*/ 7988281 w 7988356"/>
              <a:gd name="connsiteY1" fmla="*/ 7569 h 5135028"/>
              <a:gd name="connsiteX2" fmla="*/ 7982550 w 7988356"/>
              <a:gd name="connsiteY2" fmla="*/ 5135028 h 5135028"/>
              <a:gd name="connsiteX3" fmla="*/ 596656 w 7988356"/>
              <a:gd name="connsiteY3" fmla="*/ 5124807 h 5135028"/>
              <a:gd name="connsiteX4" fmla="*/ 16934 w 7988356"/>
              <a:gd name="connsiteY4" fmla="*/ 4545085 h 5135028"/>
              <a:gd name="connsiteX5" fmla="*/ 0 w 7988356"/>
              <a:gd name="connsiteY5" fmla="*/ 0 h 5135028"/>
              <a:gd name="connsiteX0" fmla="*/ 0 w 7982550"/>
              <a:gd name="connsiteY0" fmla="*/ 0 h 5135028"/>
              <a:gd name="connsiteX1" fmla="*/ 6028853 w 7982550"/>
              <a:gd name="connsiteY1" fmla="*/ 7569 h 5135028"/>
              <a:gd name="connsiteX2" fmla="*/ 7982550 w 7982550"/>
              <a:gd name="connsiteY2" fmla="*/ 5135028 h 5135028"/>
              <a:gd name="connsiteX3" fmla="*/ 596656 w 7982550"/>
              <a:gd name="connsiteY3" fmla="*/ 5124807 h 5135028"/>
              <a:gd name="connsiteX4" fmla="*/ 16934 w 7982550"/>
              <a:gd name="connsiteY4" fmla="*/ 4545085 h 5135028"/>
              <a:gd name="connsiteX5" fmla="*/ 0 w 7982550"/>
              <a:gd name="connsiteY5" fmla="*/ 0 h 5135028"/>
              <a:gd name="connsiteX0" fmla="*/ 0 w 6037636"/>
              <a:gd name="connsiteY0" fmla="*/ 0 h 5135028"/>
              <a:gd name="connsiteX1" fmla="*/ 6028853 w 6037636"/>
              <a:gd name="connsiteY1" fmla="*/ 7569 h 5135028"/>
              <a:gd name="connsiteX2" fmla="*/ 6037636 w 6037636"/>
              <a:gd name="connsiteY2" fmla="*/ 5135028 h 5135028"/>
              <a:gd name="connsiteX3" fmla="*/ 596656 w 6037636"/>
              <a:gd name="connsiteY3" fmla="*/ 5124807 h 5135028"/>
              <a:gd name="connsiteX4" fmla="*/ 16934 w 6037636"/>
              <a:gd name="connsiteY4" fmla="*/ 4545085 h 5135028"/>
              <a:gd name="connsiteX5" fmla="*/ 0 w 6037636"/>
              <a:gd name="connsiteY5" fmla="*/ 0 h 5135028"/>
              <a:gd name="connsiteX0" fmla="*/ 0 w 6028853"/>
              <a:gd name="connsiteY0" fmla="*/ 0 h 5124807"/>
              <a:gd name="connsiteX1" fmla="*/ 6028853 w 6028853"/>
              <a:gd name="connsiteY1" fmla="*/ 7569 h 5124807"/>
              <a:gd name="connsiteX2" fmla="*/ 4063693 w 6028853"/>
              <a:gd name="connsiteY2" fmla="*/ 5105999 h 5124807"/>
              <a:gd name="connsiteX3" fmla="*/ 596656 w 6028853"/>
              <a:gd name="connsiteY3" fmla="*/ 5124807 h 5124807"/>
              <a:gd name="connsiteX4" fmla="*/ 16934 w 6028853"/>
              <a:gd name="connsiteY4" fmla="*/ 4545085 h 5124807"/>
              <a:gd name="connsiteX5" fmla="*/ 0 w 6028853"/>
              <a:gd name="connsiteY5" fmla="*/ 0 h 5124807"/>
              <a:gd name="connsiteX0" fmla="*/ 0 w 4069500"/>
              <a:gd name="connsiteY0" fmla="*/ 0 h 5124807"/>
              <a:gd name="connsiteX1" fmla="*/ 4069425 w 4069500"/>
              <a:gd name="connsiteY1" fmla="*/ 7569 h 5124807"/>
              <a:gd name="connsiteX2" fmla="*/ 4063693 w 4069500"/>
              <a:gd name="connsiteY2" fmla="*/ 5105999 h 5124807"/>
              <a:gd name="connsiteX3" fmla="*/ 596656 w 4069500"/>
              <a:gd name="connsiteY3" fmla="*/ 5124807 h 5124807"/>
              <a:gd name="connsiteX4" fmla="*/ 16934 w 4069500"/>
              <a:gd name="connsiteY4" fmla="*/ 4545085 h 5124807"/>
              <a:gd name="connsiteX5" fmla="*/ 0 w 4069500"/>
              <a:gd name="connsiteY5" fmla="*/ 0 h 5124807"/>
              <a:gd name="connsiteX0" fmla="*/ 0 w 4069500"/>
              <a:gd name="connsiteY0" fmla="*/ 6946 h 5131753"/>
              <a:gd name="connsiteX1" fmla="*/ 4069425 w 4069500"/>
              <a:gd name="connsiteY1" fmla="*/ 0 h 5131753"/>
              <a:gd name="connsiteX2" fmla="*/ 4063693 w 4069500"/>
              <a:gd name="connsiteY2" fmla="*/ 5112945 h 5131753"/>
              <a:gd name="connsiteX3" fmla="*/ 596656 w 4069500"/>
              <a:gd name="connsiteY3" fmla="*/ 5131753 h 5131753"/>
              <a:gd name="connsiteX4" fmla="*/ 16934 w 4069500"/>
              <a:gd name="connsiteY4" fmla="*/ 4552031 h 5131753"/>
              <a:gd name="connsiteX5" fmla="*/ 0 w 4069500"/>
              <a:gd name="connsiteY5" fmla="*/ 6946 h 5131753"/>
              <a:gd name="connsiteX0" fmla="*/ 0 w 4082753"/>
              <a:gd name="connsiteY0" fmla="*/ 2 h 6874096"/>
              <a:gd name="connsiteX1" fmla="*/ 4082678 w 4082753"/>
              <a:gd name="connsiteY1" fmla="*/ 1742343 h 6874096"/>
              <a:gd name="connsiteX2" fmla="*/ 4076946 w 4082753"/>
              <a:gd name="connsiteY2" fmla="*/ 6855288 h 6874096"/>
              <a:gd name="connsiteX3" fmla="*/ 609909 w 4082753"/>
              <a:gd name="connsiteY3" fmla="*/ 6874096 h 6874096"/>
              <a:gd name="connsiteX4" fmla="*/ 30187 w 4082753"/>
              <a:gd name="connsiteY4" fmla="*/ 6294374 h 6874096"/>
              <a:gd name="connsiteX5" fmla="*/ 0 w 4082753"/>
              <a:gd name="connsiteY5" fmla="*/ 2 h 6874096"/>
              <a:gd name="connsiteX0" fmla="*/ 0 w 4095958"/>
              <a:gd name="connsiteY0" fmla="*/ 6946 h 6881040"/>
              <a:gd name="connsiteX1" fmla="*/ 4095930 w 4095958"/>
              <a:gd name="connsiteY1" fmla="*/ 0 h 6881040"/>
              <a:gd name="connsiteX2" fmla="*/ 4076946 w 4095958"/>
              <a:gd name="connsiteY2" fmla="*/ 6862232 h 6881040"/>
              <a:gd name="connsiteX3" fmla="*/ 609909 w 4095958"/>
              <a:gd name="connsiteY3" fmla="*/ 6881040 h 6881040"/>
              <a:gd name="connsiteX4" fmla="*/ 30187 w 4095958"/>
              <a:gd name="connsiteY4" fmla="*/ 6301318 h 6881040"/>
              <a:gd name="connsiteX5" fmla="*/ 0 w 4095958"/>
              <a:gd name="connsiteY5" fmla="*/ 6946 h 6881040"/>
              <a:gd name="connsiteX0" fmla="*/ 0 w 4076946"/>
              <a:gd name="connsiteY0" fmla="*/ 0 h 6874094"/>
              <a:gd name="connsiteX1" fmla="*/ 3870643 w 4076946"/>
              <a:gd name="connsiteY1" fmla="*/ 191837 h 6874094"/>
              <a:gd name="connsiteX2" fmla="*/ 4076946 w 4076946"/>
              <a:gd name="connsiteY2" fmla="*/ 6855286 h 6874094"/>
              <a:gd name="connsiteX3" fmla="*/ 609909 w 4076946"/>
              <a:gd name="connsiteY3" fmla="*/ 6874094 h 6874094"/>
              <a:gd name="connsiteX4" fmla="*/ 30187 w 4076946"/>
              <a:gd name="connsiteY4" fmla="*/ 6294372 h 6874094"/>
              <a:gd name="connsiteX5" fmla="*/ 0 w 4076946"/>
              <a:gd name="connsiteY5" fmla="*/ 0 h 6874094"/>
              <a:gd name="connsiteX0" fmla="*/ 0 w 4076946"/>
              <a:gd name="connsiteY0" fmla="*/ 0 h 6874094"/>
              <a:gd name="connsiteX1" fmla="*/ 4069426 w 4076946"/>
              <a:gd name="connsiteY1" fmla="*/ 19559 h 6874094"/>
              <a:gd name="connsiteX2" fmla="*/ 4076946 w 4076946"/>
              <a:gd name="connsiteY2" fmla="*/ 6855286 h 6874094"/>
              <a:gd name="connsiteX3" fmla="*/ 609909 w 4076946"/>
              <a:gd name="connsiteY3" fmla="*/ 6874094 h 6874094"/>
              <a:gd name="connsiteX4" fmla="*/ 30187 w 4076946"/>
              <a:gd name="connsiteY4" fmla="*/ 6294372 h 6874094"/>
              <a:gd name="connsiteX5" fmla="*/ 0 w 4076946"/>
              <a:gd name="connsiteY5" fmla="*/ 0 h 6874094"/>
              <a:gd name="connsiteX0" fmla="*/ 0 w 4076946"/>
              <a:gd name="connsiteY0" fmla="*/ 99710 h 6854535"/>
              <a:gd name="connsiteX1" fmla="*/ 4069426 w 4076946"/>
              <a:gd name="connsiteY1" fmla="*/ 0 h 6854535"/>
              <a:gd name="connsiteX2" fmla="*/ 4076946 w 4076946"/>
              <a:gd name="connsiteY2" fmla="*/ 6835727 h 6854535"/>
              <a:gd name="connsiteX3" fmla="*/ 609909 w 4076946"/>
              <a:gd name="connsiteY3" fmla="*/ 6854535 h 6854535"/>
              <a:gd name="connsiteX4" fmla="*/ 30187 w 4076946"/>
              <a:gd name="connsiteY4" fmla="*/ 6274813 h 6854535"/>
              <a:gd name="connsiteX5" fmla="*/ 0 w 4076946"/>
              <a:gd name="connsiteY5" fmla="*/ 99710 h 6854535"/>
              <a:gd name="connsiteX0" fmla="*/ 0 w 4076946"/>
              <a:gd name="connsiteY0" fmla="*/ 0 h 6860842"/>
              <a:gd name="connsiteX1" fmla="*/ 4069426 w 4076946"/>
              <a:gd name="connsiteY1" fmla="*/ 6307 h 6860842"/>
              <a:gd name="connsiteX2" fmla="*/ 4076946 w 4076946"/>
              <a:gd name="connsiteY2" fmla="*/ 6842034 h 6860842"/>
              <a:gd name="connsiteX3" fmla="*/ 609909 w 4076946"/>
              <a:gd name="connsiteY3" fmla="*/ 6860842 h 6860842"/>
              <a:gd name="connsiteX4" fmla="*/ 30187 w 4076946"/>
              <a:gd name="connsiteY4" fmla="*/ 6281120 h 6860842"/>
              <a:gd name="connsiteX5" fmla="*/ 0 w 4076946"/>
              <a:gd name="connsiteY5" fmla="*/ 0 h 6860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76946" h="6860842">
                <a:moveTo>
                  <a:pt x="0" y="0"/>
                </a:moveTo>
                <a:lnTo>
                  <a:pt x="4069426" y="6307"/>
                </a:lnTo>
                <a:cubicBezTo>
                  <a:pt x="4070331" y="2153114"/>
                  <a:pt x="4076041" y="4695227"/>
                  <a:pt x="4076946" y="6842034"/>
                </a:cubicBezTo>
                <a:lnTo>
                  <a:pt x="609909" y="6860842"/>
                </a:lnTo>
                <a:cubicBezTo>
                  <a:pt x="289737" y="6860842"/>
                  <a:pt x="30187" y="6601292"/>
                  <a:pt x="30187" y="6281120"/>
                </a:cubicBezTo>
                <a:cubicBezTo>
                  <a:pt x="24542" y="4758683"/>
                  <a:pt x="5645" y="1522437"/>
                  <a:pt x="0" y="0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JP"/>
              <a:t>Insert Photo</a:t>
            </a:r>
          </a:p>
        </p:txBody>
      </p:sp>
      <p:sp>
        <p:nvSpPr>
          <p:cNvPr id="17" name="タイトル プレースホルダ 1">
            <a:extLst>
              <a:ext uri="{FF2B5EF4-FFF2-40B4-BE49-F238E27FC236}">
                <a16:creationId xmlns:a16="http://schemas.microsoft.com/office/drawing/2014/main" id="{6FB24DD6-99CB-CE43-A787-C9F60DC95F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5526659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7130E5B-E573-584B-8C83-F8409492B14B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1" name="スライド番号プレースホルダ 5">
            <a:extLst>
              <a:ext uri="{FF2B5EF4-FFF2-40B4-BE49-F238E27FC236}">
                <a16:creationId xmlns:a16="http://schemas.microsoft.com/office/drawing/2014/main" id="{C55CC856-2ADD-F44F-96B6-03734457CC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914108"/>
            <a:fld id="{E9B57936-92EF-4126-AE48-1D9D36D15E98}" type="slidenum">
              <a:rPr lang="ja-JP" altLang="en-US" smtClean="0"/>
              <a:pPr defTabSz="914108"/>
              <a:t>‹#›</a:t>
            </a:fld>
            <a:endParaRPr lang="ja-JP" altLang="en-US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DB94AACD-56D4-F146-AFC0-5CBE6630C5A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3A8AA34-7C7D-A24F-AF24-5158DD2AB0E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0530" y="1491374"/>
            <a:ext cx="5537864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/>
            </a:lvl1pPr>
            <a:lvl2pPr marL="342801" indent="0">
              <a:buNone/>
              <a:defRPr sz="1350" b="1"/>
            </a:lvl2pPr>
            <a:lvl3pPr marL="685612" indent="0">
              <a:buNone/>
              <a:defRPr sz="1350" b="1"/>
            </a:lvl3pPr>
            <a:lvl4pPr marL="1028414" indent="0">
              <a:buNone/>
              <a:defRPr sz="1350" b="1"/>
            </a:lvl4pPr>
            <a:lvl5pPr marL="1371218" indent="0">
              <a:buNone/>
              <a:defRPr sz="135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8F4B55CE-CF3E-7E44-A66A-599621CA5C5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0531" y="1093767"/>
            <a:ext cx="5537863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50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Primary Title</a:t>
            </a:r>
          </a:p>
        </p:txBody>
      </p:sp>
    </p:spTree>
    <p:extLst>
      <p:ext uri="{BB962C8B-B14F-4D97-AF65-F5344CB8AC3E}">
        <p14:creationId xmlns:p14="http://schemas.microsoft.com/office/powerpoint/2010/main" val="774308163"/>
      </p:ext>
    </p:extLst>
  </p:cSld>
  <p:clrMapOvr>
    <a:masterClrMapping/>
  </p:clrMapOvr>
  <p:transition spd="slow">
    <p:push dir="u"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dvanced Image 4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21DF8897-54F9-C24F-8261-0C5418827A6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789157" y="3076287"/>
            <a:ext cx="1926218" cy="3138969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18553"/>
              <a:gd name="connsiteX1" fmla="*/ 8912928 w 8915642"/>
              <a:gd name="connsiteY1" fmla="*/ 176478 h 6618553"/>
              <a:gd name="connsiteX2" fmla="*/ 8915642 w 8915642"/>
              <a:gd name="connsiteY2" fmla="*/ 6616899 h 6618553"/>
              <a:gd name="connsiteX3" fmla="*/ 579722 w 8915642"/>
              <a:gd name="connsiteY3" fmla="*/ 6618553 h 6618553"/>
              <a:gd name="connsiteX4" fmla="*/ 0 w 8915642"/>
              <a:gd name="connsiteY4" fmla="*/ 6038831 h 6618553"/>
              <a:gd name="connsiteX5" fmla="*/ 0 w 8915642"/>
              <a:gd name="connsiteY5" fmla="*/ 1 h 6618553"/>
              <a:gd name="connsiteX0" fmla="*/ 0 w 8915642"/>
              <a:gd name="connsiteY0" fmla="*/ 25404 h 6643956"/>
              <a:gd name="connsiteX1" fmla="*/ 6015348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25404 h 6643956"/>
              <a:gd name="connsiteX0" fmla="*/ 0 w 8915642"/>
              <a:gd name="connsiteY0" fmla="*/ 1653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1653 h 6620205"/>
              <a:gd name="connsiteX0" fmla="*/ 0 w 8915642"/>
              <a:gd name="connsiteY0" fmla="*/ 96656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96656 h 6620205"/>
              <a:gd name="connsiteX0" fmla="*/ 0 w 8915642"/>
              <a:gd name="connsiteY0" fmla="*/ 0 h 6642302"/>
              <a:gd name="connsiteX1" fmla="*/ 6003473 w 8915642"/>
              <a:gd name="connsiteY1" fmla="*/ 22097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0 h 6642302"/>
              <a:gd name="connsiteX1" fmla="*/ 5932221 w 8915642"/>
              <a:gd name="connsiteY1" fmla="*/ 152725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1654 h 6643956"/>
              <a:gd name="connsiteX1" fmla="*/ 6003473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1654 h 6643956"/>
              <a:gd name="connsiteX0" fmla="*/ 0 w 6018062"/>
              <a:gd name="connsiteY0" fmla="*/ 1654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1654 h 6654178"/>
              <a:gd name="connsiteX0" fmla="*/ 0 w 6018062"/>
              <a:gd name="connsiteY0" fmla="*/ 203535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203535 h 6654178"/>
              <a:gd name="connsiteX0" fmla="*/ 0 w 6018062"/>
              <a:gd name="connsiteY0" fmla="*/ 1655 h 6452298"/>
              <a:gd name="connsiteX1" fmla="*/ 4055920 w 6018062"/>
              <a:gd name="connsiteY1" fmla="*/ 0 h 6452298"/>
              <a:gd name="connsiteX2" fmla="*/ 6018062 w 6018062"/>
              <a:gd name="connsiteY2" fmla="*/ 6452298 h 6452298"/>
              <a:gd name="connsiteX3" fmla="*/ 579722 w 6018062"/>
              <a:gd name="connsiteY3" fmla="*/ 6442076 h 6452298"/>
              <a:gd name="connsiteX4" fmla="*/ 0 w 6018062"/>
              <a:gd name="connsiteY4" fmla="*/ 5862354 h 6452298"/>
              <a:gd name="connsiteX5" fmla="*/ 0 w 6018062"/>
              <a:gd name="connsiteY5" fmla="*/ 1655 h 6452298"/>
              <a:gd name="connsiteX0" fmla="*/ 0 w 4055973"/>
              <a:gd name="connsiteY0" fmla="*/ 1655 h 6452298"/>
              <a:gd name="connsiteX1" fmla="*/ 4055920 w 4055973"/>
              <a:gd name="connsiteY1" fmla="*/ 0 h 6452298"/>
              <a:gd name="connsiteX2" fmla="*/ 4046758 w 4055973"/>
              <a:gd name="connsiteY2" fmla="*/ 6452298 h 6452298"/>
              <a:gd name="connsiteX3" fmla="*/ 579722 w 4055973"/>
              <a:gd name="connsiteY3" fmla="*/ 6442076 h 6452298"/>
              <a:gd name="connsiteX4" fmla="*/ 0 w 4055973"/>
              <a:gd name="connsiteY4" fmla="*/ 5862354 h 6452298"/>
              <a:gd name="connsiteX5" fmla="*/ 0 w 4055973"/>
              <a:gd name="connsiteY5" fmla="*/ 1655 h 6452298"/>
              <a:gd name="connsiteX0" fmla="*/ 0 w 4055973"/>
              <a:gd name="connsiteY0" fmla="*/ 0 h 6652523"/>
              <a:gd name="connsiteX1" fmla="*/ 4055920 w 4055973"/>
              <a:gd name="connsiteY1" fmla="*/ 200225 h 6652523"/>
              <a:gd name="connsiteX2" fmla="*/ 4046758 w 4055973"/>
              <a:gd name="connsiteY2" fmla="*/ 6652523 h 6652523"/>
              <a:gd name="connsiteX3" fmla="*/ 579722 w 4055973"/>
              <a:gd name="connsiteY3" fmla="*/ 6642301 h 6652523"/>
              <a:gd name="connsiteX4" fmla="*/ 0 w 4055973"/>
              <a:gd name="connsiteY4" fmla="*/ 6062579 h 6652523"/>
              <a:gd name="connsiteX5" fmla="*/ 0 w 4055973"/>
              <a:gd name="connsiteY5" fmla="*/ 0 h 6652523"/>
              <a:gd name="connsiteX0" fmla="*/ 0 w 4046758"/>
              <a:gd name="connsiteY0" fmla="*/ 0 h 6652523"/>
              <a:gd name="connsiteX1" fmla="*/ 4044045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1655 h 6654178"/>
              <a:gd name="connsiteX1" fmla="*/ 3082144 w 4046758"/>
              <a:gd name="connsiteY1" fmla="*/ 0 h 6654178"/>
              <a:gd name="connsiteX2" fmla="*/ 4046758 w 4046758"/>
              <a:gd name="connsiteY2" fmla="*/ 6654178 h 6654178"/>
              <a:gd name="connsiteX3" fmla="*/ 579722 w 4046758"/>
              <a:gd name="connsiteY3" fmla="*/ 6643956 h 6654178"/>
              <a:gd name="connsiteX4" fmla="*/ 0 w 4046758"/>
              <a:gd name="connsiteY4" fmla="*/ 6064234 h 6654178"/>
              <a:gd name="connsiteX5" fmla="*/ 0 w 4046758"/>
              <a:gd name="connsiteY5" fmla="*/ 1655 h 6654178"/>
              <a:gd name="connsiteX0" fmla="*/ 0 w 4046758"/>
              <a:gd name="connsiteY0" fmla="*/ 0 h 6652523"/>
              <a:gd name="connsiteX1" fmla="*/ 2975266 w 4046758"/>
              <a:gd name="connsiteY1" fmla="*/ 93348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70268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82144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3082197"/>
              <a:gd name="connsiteY0" fmla="*/ 0 h 6652523"/>
              <a:gd name="connsiteX1" fmla="*/ 3082144 w 3082197"/>
              <a:gd name="connsiteY1" fmla="*/ 10220 h 6652523"/>
              <a:gd name="connsiteX2" fmla="*/ 3072982 w 3082197"/>
              <a:gd name="connsiteY2" fmla="*/ 6652523 h 6652523"/>
              <a:gd name="connsiteX3" fmla="*/ 579722 w 3082197"/>
              <a:gd name="connsiteY3" fmla="*/ 6642301 h 6652523"/>
              <a:gd name="connsiteX4" fmla="*/ 0 w 3082197"/>
              <a:gd name="connsiteY4" fmla="*/ 6062579 h 6652523"/>
              <a:gd name="connsiteX5" fmla="*/ 0 w 3082197"/>
              <a:gd name="connsiteY5" fmla="*/ 0 h 6652523"/>
              <a:gd name="connsiteX0" fmla="*/ 0 w 3072982"/>
              <a:gd name="connsiteY0" fmla="*/ 0 h 6652523"/>
              <a:gd name="connsiteX1" fmla="*/ 3010892 w 3072982"/>
              <a:gd name="connsiteY1" fmla="*/ 164599 h 6652523"/>
              <a:gd name="connsiteX2" fmla="*/ 3072982 w 3072982"/>
              <a:gd name="connsiteY2" fmla="*/ 6652523 h 6652523"/>
              <a:gd name="connsiteX3" fmla="*/ 579722 w 3072982"/>
              <a:gd name="connsiteY3" fmla="*/ 6642301 h 6652523"/>
              <a:gd name="connsiteX4" fmla="*/ 0 w 3072982"/>
              <a:gd name="connsiteY4" fmla="*/ 6062579 h 6652523"/>
              <a:gd name="connsiteX5" fmla="*/ 0 w 3072982"/>
              <a:gd name="connsiteY5" fmla="*/ 0 h 6652523"/>
              <a:gd name="connsiteX0" fmla="*/ 0 w 3082197"/>
              <a:gd name="connsiteY0" fmla="*/ 1656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656 h 6654179"/>
              <a:gd name="connsiteX0" fmla="*/ 0 w 3082197"/>
              <a:gd name="connsiteY0" fmla="*/ 1316107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316107 h 6654179"/>
              <a:gd name="connsiteX0" fmla="*/ 0 w 3082197"/>
              <a:gd name="connsiteY0" fmla="*/ 1657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1657 h 5339729"/>
              <a:gd name="connsiteX0" fmla="*/ 0 w 3082197"/>
              <a:gd name="connsiteY0" fmla="*/ 2202416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2202416 h 5339729"/>
              <a:gd name="connsiteX0" fmla="*/ 0 w 3082197"/>
              <a:gd name="connsiteY0" fmla="*/ 1656 h 3138969"/>
              <a:gd name="connsiteX1" fmla="*/ 3082144 w 3082197"/>
              <a:gd name="connsiteY1" fmla="*/ 0 h 3138969"/>
              <a:gd name="connsiteX2" fmla="*/ 3072982 w 3082197"/>
              <a:gd name="connsiteY2" fmla="*/ 3138969 h 3138969"/>
              <a:gd name="connsiteX3" fmla="*/ 579722 w 3082197"/>
              <a:gd name="connsiteY3" fmla="*/ 3128747 h 3138969"/>
              <a:gd name="connsiteX4" fmla="*/ 0 w 3082197"/>
              <a:gd name="connsiteY4" fmla="*/ 2549025 h 3138969"/>
              <a:gd name="connsiteX5" fmla="*/ 0 w 3082197"/>
              <a:gd name="connsiteY5" fmla="*/ 1656 h 3138969"/>
              <a:gd name="connsiteX0" fmla="*/ 0 w 3082145"/>
              <a:gd name="connsiteY0" fmla="*/ 1656 h 3150544"/>
              <a:gd name="connsiteX1" fmla="*/ 3082144 w 3082145"/>
              <a:gd name="connsiteY1" fmla="*/ 0 h 3150544"/>
              <a:gd name="connsiteX2" fmla="*/ 2772041 w 3082145"/>
              <a:gd name="connsiteY2" fmla="*/ 3150544 h 3150544"/>
              <a:gd name="connsiteX3" fmla="*/ 579722 w 3082145"/>
              <a:gd name="connsiteY3" fmla="*/ 3128747 h 3150544"/>
              <a:gd name="connsiteX4" fmla="*/ 0 w 3082145"/>
              <a:gd name="connsiteY4" fmla="*/ 2549025 h 3150544"/>
              <a:gd name="connsiteX5" fmla="*/ 0 w 3082145"/>
              <a:gd name="connsiteY5" fmla="*/ 1656 h 3150544"/>
              <a:gd name="connsiteX0" fmla="*/ 0 w 2772041"/>
              <a:gd name="connsiteY0" fmla="*/ 1656 h 3150544"/>
              <a:gd name="connsiteX1" fmla="*/ 2769627 w 2772041"/>
              <a:gd name="connsiteY1" fmla="*/ 0 h 3150544"/>
              <a:gd name="connsiteX2" fmla="*/ 2772041 w 2772041"/>
              <a:gd name="connsiteY2" fmla="*/ 3150544 h 3150544"/>
              <a:gd name="connsiteX3" fmla="*/ 579722 w 2772041"/>
              <a:gd name="connsiteY3" fmla="*/ 3128747 h 3150544"/>
              <a:gd name="connsiteX4" fmla="*/ 0 w 2772041"/>
              <a:gd name="connsiteY4" fmla="*/ 2549025 h 3150544"/>
              <a:gd name="connsiteX5" fmla="*/ 0 w 2772041"/>
              <a:gd name="connsiteY5" fmla="*/ 1656 h 3150544"/>
              <a:gd name="connsiteX0" fmla="*/ 0 w 2772041"/>
              <a:gd name="connsiteY0" fmla="*/ 1656 h 3138969"/>
              <a:gd name="connsiteX1" fmla="*/ 2769627 w 2772041"/>
              <a:gd name="connsiteY1" fmla="*/ 0 h 3138969"/>
              <a:gd name="connsiteX2" fmla="*/ 2772041 w 2772041"/>
              <a:gd name="connsiteY2" fmla="*/ 3138969 h 3138969"/>
              <a:gd name="connsiteX3" fmla="*/ 579722 w 2772041"/>
              <a:gd name="connsiteY3" fmla="*/ 3128747 h 3138969"/>
              <a:gd name="connsiteX4" fmla="*/ 0 w 2772041"/>
              <a:gd name="connsiteY4" fmla="*/ 2549025 h 3138969"/>
              <a:gd name="connsiteX5" fmla="*/ 0 w 2772041"/>
              <a:gd name="connsiteY5" fmla="*/ 1656 h 313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72041" h="3138969">
                <a:moveTo>
                  <a:pt x="0" y="1656"/>
                </a:moveTo>
                <a:lnTo>
                  <a:pt x="2769627" y="0"/>
                </a:lnTo>
                <a:cubicBezTo>
                  <a:pt x="2770532" y="2146807"/>
                  <a:pt x="2771136" y="992162"/>
                  <a:pt x="2772041" y="3138969"/>
                </a:cubicBezTo>
                <a:lnTo>
                  <a:pt x="579722" y="3128747"/>
                </a:lnTo>
                <a:cubicBezTo>
                  <a:pt x="259550" y="3128747"/>
                  <a:pt x="0" y="2869197"/>
                  <a:pt x="0" y="2549025"/>
                </a:cubicBezTo>
                <a:lnTo>
                  <a:pt x="0" y="1656"/>
                </a:ln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marR="0" indent="0" algn="l" defTabSz="68561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 sz="1050">
                <a:solidFill>
                  <a:schemeClr val="tx1"/>
                </a:solidFill>
              </a:defRPr>
            </a:lvl1pPr>
          </a:lstStyle>
          <a:p>
            <a:pPr marL="0" marR="0" lvl="0" indent="0" algn="l" defTabSz="68561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JP"/>
              <a:t>Insert Picture/Text Block</a:t>
            </a:r>
          </a:p>
          <a:p>
            <a:endParaRPr lang="en-JP"/>
          </a:p>
        </p:txBody>
      </p:sp>
      <p:sp>
        <p:nvSpPr>
          <p:cNvPr id="23" name="Picture Placeholder 9">
            <a:extLst>
              <a:ext uri="{FF2B5EF4-FFF2-40B4-BE49-F238E27FC236}">
                <a16:creationId xmlns:a16="http://schemas.microsoft.com/office/drawing/2014/main" id="{8D6B3691-FCAC-8A46-AA30-DEB2A719C7B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54559" y="3076287"/>
            <a:ext cx="1926218" cy="3138969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18553"/>
              <a:gd name="connsiteX1" fmla="*/ 8912928 w 8915642"/>
              <a:gd name="connsiteY1" fmla="*/ 176478 h 6618553"/>
              <a:gd name="connsiteX2" fmla="*/ 8915642 w 8915642"/>
              <a:gd name="connsiteY2" fmla="*/ 6616899 h 6618553"/>
              <a:gd name="connsiteX3" fmla="*/ 579722 w 8915642"/>
              <a:gd name="connsiteY3" fmla="*/ 6618553 h 6618553"/>
              <a:gd name="connsiteX4" fmla="*/ 0 w 8915642"/>
              <a:gd name="connsiteY4" fmla="*/ 6038831 h 6618553"/>
              <a:gd name="connsiteX5" fmla="*/ 0 w 8915642"/>
              <a:gd name="connsiteY5" fmla="*/ 1 h 6618553"/>
              <a:gd name="connsiteX0" fmla="*/ 0 w 8915642"/>
              <a:gd name="connsiteY0" fmla="*/ 25404 h 6643956"/>
              <a:gd name="connsiteX1" fmla="*/ 6015348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25404 h 6643956"/>
              <a:gd name="connsiteX0" fmla="*/ 0 w 8915642"/>
              <a:gd name="connsiteY0" fmla="*/ 1653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1653 h 6620205"/>
              <a:gd name="connsiteX0" fmla="*/ 0 w 8915642"/>
              <a:gd name="connsiteY0" fmla="*/ 96656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96656 h 6620205"/>
              <a:gd name="connsiteX0" fmla="*/ 0 w 8915642"/>
              <a:gd name="connsiteY0" fmla="*/ 0 h 6642302"/>
              <a:gd name="connsiteX1" fmla="*/ 6003473 w 8915642"/>
              <a:gd name="connsiteY1" fmla="*/ 22097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0 h 6642302"/>
              <a:gd name="connsiteX1" fmla="*/ 5932221 w 8915642"/>
              <a:gd name="connsiteY1" fmla="*/ 152725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1654 h 6643956"/>
              <a:gd name="connsiteX1" fmla="*/ 6003473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1654 h 6643956"/>
              <a:gd name="connsiteX0" fmla="*/ 0 w 6018062"/>
              <a:gd name="connsiteY0" fmla="*/ 1654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1654 h 6654178"/>
              <a:gd name="connsiteX0" fmla="*/ 0 w 6018062"/>
              <a:gd name="connsiteY0" fmla="*/ 203535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203535 h 6654178"/>
              <a:gd name="connsiteX0" fmla="*/ 0 w 6018062"/>
              <a:gd name="connsiteY0" fmla="*/ 1655 h 6452298"/>
              <a:gd name="connsiteX1" fmla="*/ 4055920 w 6018062"/>
              <a:gd name="connsiteY1" fmla="*/ 0 h 6452298"/>
              <a:gd name="connsiteX2" fmla="*/ 6018062 w 6018062"/>
              <a:gd name="connsiteY2" fmla="*/ 6452298 h 6452298"/>
              <a:gd name="connsiteX3" fmla="*/ 579722 w 6018062"/>
              <a:gd name="connsiteY3" fmla="*/ 6442076 h 6452298"/>
              <a:gd name="connsiteX4" fmla="*/ 0 w 6018062"/>
              <a:gd name="connsiteY4" fmla="*/ 5862354 h 6452298"/>
              <a:gd name="connsiteX5" fmla="*/ 0 w 6018062"/>
              <a:gd name="connsiteY5" fmla="*/ 1655 h 6452298"/>
              <a:gd name="connsiteX0" fmla="*/ 0 w 4055973"/>
              <a:gd name="connsiteY0" fmla="*/ 1655 h 6452298"/>
              <a:gd name="connsiteX1" fmla="*/ 4055920 w 4055973"/>
              <a:gd name="connsiteY1" fmla="*/ 0 h 6452298"/>
              <a:gd name="connsiteX2" fmla="*/ 4046758 w 4055973"/>
              <a:gd name="connsiteY2" fmla="*/ 6452298 h 6452298"/>
              <a:gd name="connsiteX3" fmla="*/ 579722 w 4055973"/>
              <a:gd name="connsiteY3" fmla="*/ 6442076 h 6452298"/>
              <a:gd name="connsiteX4" fmla="*/ 0 w 4055973"/>
              <a:gd name="connsiteY4" fmla="*/ 5862354 h 6452298"/>
              <a:gd name="connsiteX5" fmla="*/ 0 w 4055973"/>
              <a:gd name="connsiteY5" fmla="*/ 1655 h 6452298"/>
              <a:gd name="connsiteX0" fmla="*/ 0 w 4055973"/>
              <a:gd name="connsiteY0" fmla="*/ 0 h 6652523"/>
              <a:gd name="connsiteX1" fmla="*/ 4055920 w 4055973"/>
              <a:gd name="connsiteY1" fmla="*/ 200225 h 6652523"/>
              <a:gd name="connsiteX2" fmla="*/ 4046758 w 4055973"/>
              <a:gd name="connsiteY2" fmla="*/ 6652523 h 6652523"/>
              <a:gd name="connsiteX3" fmla="*/ 579722 w 4055973"/>
              <a:gd name="connsiteY3" fmla="*/ 6642301 h 6652523"/>
              <a:gd name="connsiteX4" fmla="*/ 0 w 4055973"/>
              <a:gd name="connsiteY4" fmla="*/ 6062579 h 6652523"/>
              <a:gd name="connsiteX5" fmla="*/ 0 w 4055973"/>
              <a:gd name="connsiteY5" fmla="*/ 0 h 6652523"/>
              <a:gd name="connsiteX0" fmla="*/ 0 w 4046758"/>
              <a:gd name="connsiteY0" fmla="*/ 0 h 6652523"/>
              <a:gd name="connsiteX1" fmla="*/ 4044045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1655 h 6654178"/>
              <a:gd name="connsiteX1" fmla="*/ 3082144 w 4046758"/>
              <a:gd name="connsiteY1" fmla="*/ 0 h 6654178"/>
              <a:gd name="connsiteX2" fmla="*/ 4046758 w 4046758"/>
              <a:gd name="connsiteY2" fmla="*/ 6654178 h 6654178"/>
              <a:gd name="connsiteX3" fmla="*/ 579722 w 4046758"/>
              <a:gd name="connsiteY3" fmla="*/ 6643956 h 6654178"/>
              <a:gd name="connsiteX4" fmla="*/ 0 w 4046758"/>
              <a:gd name="connsiteY4" fmla="*/ 6064234 h 6654178"/>
              <a:gd name="connsiteX5" fmla="*/ 0 w 4046758"/>
              <a:gd name="connsiteY5" fmla="*/ 1655 h 6654178"/>
              <a:gd name="connsiteX0" fmla="*/ 0 w 4046758"/>
              <a:gd name="connsiteY0" fmla="*/ 0 h 6652523"/>
              <a:gd name="connsiteX1" fmla="*/ 2975266 w 4046758"/>
              <a:gd name="connsiteY1" fmla="*/ 93348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70268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82144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3082197"/>
              <a:gd name="connsiteY0" fmla="*/ 0 h 6652523"/>
              <a:gd name="connsiteX1" fmla="*/ 3082144 w 3082197"/>
              <a:gd name="connsiteY1" fmla="*/ 10220 h 6652523"/>
              <a:gd name="connsiteX2" fmla="*/ 3072982 w 3082197"/>
              <a:gd name="connsiteY2" fmla="*/ 6652523 h 6652523"/>
              <a:gd name="connsiteX3" fmla="*/ 579722 w 3082197"/>
              <a:gd name="connsiteY3" fmla="*/ 6642301 h 6652523"/>
              <a:gd name="connsiteX4" fmla="*/ 0 w 3082197"/>
              <a:gd name="connsiteY4" fmla="*/ 6062579 h 6652523"/>
              <a:gd name="connsiteX5" fmla="*/ 0 w 3082197"/>
              <a:gd name="connsiteY5" fmla="*/ 0 h 6652523"/>
              <a:gd name="connsiteX0" fmla="*/ 0 w 3072982"/>
              <a:gd name="connsiteY0" fmla="*/ 0 h 6652523"/>
              <a:gd name="connsiteX1" fmla="*/ 3010892 w 3072982"/>
              <a:gd name="connsiteY1" fmla="*/ 164599 h 6652523"/>
              <a:gd name="connsiteX2" fmla="*/ 3072982 w 3072982"/>
              <a:gd name="connsiteY2" fmla="*/ 6652523 h 6652523"/>
              <a:gd name="connsiteX3" fmla="*/ 579722 w 3072982"/>
              <a:gd name="connsiteY3" fmla="*/ 6642301 h 6652523"/>
              <a:gd name="connsiteX4" fmla="*/ 0 w 3072982"/>
              <a:gd name="connsiteY4" fmla="*/ 6062579 h 6652523"/>
              <a:gd name="connsiteX5" fmla="*/ 0 w 3072982"/>
              <a:gd name="connsiteY5" fmla="*/ 0 h 6652523"/>
              <a:gd name="connsiteX0" fmla="*/ 0 w 3082197"/>
              <a:gd name="connsiteY0" fmla="*/ 1656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656 h 6654179"/>
              <a:gd name="connsiteX0" fmla="*/ 0 w 3082197"/>
              <a:gd name="connsiteY0" fmla="*/ 1316107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316107 h 6654179"/>
              <a:gd name="connsiteX0" fmla="*/ 0 w 3082197"/>
              <a:gd name="connsiteY0" fmla="*/ 1657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1657 h 5339729"/>
              <a:gd name="connsiteX0" fmla="*/ 0 w 3082197"/>
              <a:gd name="connsiteY0" fmla="*/ 2202416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2202416 h 5339729"/>
              <a:gd name="connsiteX0" fmla="*/ 0 w 3082197"/>
              <a:gd name="connsiteY0" fmla="*/ 1656 h 3138969"/>
              <a:gd name="connsiteX1" fmla="*/ 3082144 w 3082197"/>
              <a:gd name="connsiteY1" fmla="*/ 0 h 3138969"/>
              <a:gd name="connsiteX2" fmla="*/ 3072982 w 3082197"/>
              <a:gd name="connsiteY2" fmla="*/ 3138969 h 3138969"/>
              <a:gd name="connsiteX3" fmla="*/ 579722 w 3082197"/>
              <a:gd name="connsiteY3" fmla="*/ 3128747 h 3138969"/>
              <a:gd name="connsiteX4" fmla="*/ 0 w 3082197"/>
              <a:gd name="connsiteY4" fmla="*/ 2549025 h 3138969"/>
              <a:gd name="connsiteX5" fmla="*/ 0 w 3082197"/>
              <a:gd name="connsiteY5" fmla="*/ 1656 h 3138969"/>
              <a:gd name="connsiteX0" fmla="*/ 0 w 3082145"/>
              <a:gd name="connsiteY0" fmla="*/ 1656 h 3150544"/>
              <a:gd name="connsiteX1" fmla="*/ 3082144 w 3082145"/>
              <a:gd name="connsiteY1" fmla="*/ 0 h 3150544"/>
              <a:gd name="connsiteX2" fmla="*/ 2772041 w 3082145"/>
              <a:gd name="connsiteY2" fmla="*/ 3150544 h 3150544"/>
              <a:gd name="connsiteX3" fmla="*/ 579722 w 3082145"/>
              <a:gd name="connsiteY3" fmla="*/ 3128747 h 3150544"/>
              <a:gd name="connsiteX4" fmla="*/ 0 w 3082145"/>
              <a:gd name="connsiteY4" fmla="*/ 2549025 h 3150544"/>
              <a:gd name="connsiteX5" fmla="*/ 0 w 3082145"/>
              <a:gd name="connsiteY5" fmla="*/ 1656 h 3150544"/>
              <a:gd name="connsiteX0" fmla="*/ 0 w 2772041"/>
              <a:gd name="connsiteY0" fmla="*/ 1656 h 3150544"/>
              <a:gd name="connsiteX1" fmla="*/ 2769627 w 2772041"/>
              <a:gd name="connsiteY1" fmla="*/ 0 h 3150544"/>
              <a:gd name="connsiteX2" fmla="*/ 2772041 w 2772041"/>
              <a:gd name="connsiteY2" fmla="*/ 3150544 h 3150544"/>
              <a:gd name="connsiteX3" fmla="*/ 579722 w 2772041"/>
              <a:gd name="connsiteY3" fmla="*/ 3128747 h 3150544"/>
              <a:gd name="connsiteX4" fmla="*/ 0 w 2772041"/>
              <a:gd name="connsiteY4" fmla="*/ 2549025 h 3150544"/>
              <a:gd name="connsiteX5" fmla="*/ 0 w 2772041"/>
              <a:gd name="connsiteY5" fmla="*/ 1656 h 3150544"/>
              <a:gd name="connsiteX0" fmla="*/ 0 w 2772041"/>
              <a:gd name="connsiteY0" fmla="*/ 1656 h 3138969"/>
              <a:gd name="connsiteX1" fmla="*/ 2769627 w 2772041"/>
              <a:gd name="connsiteY1" fmla="*/ 0 h 3138969"/>
              <a:gd name="connsiteX2" fmla="*/ 2772041 w 2772041"/>
              <a:gd name="connsiteY2" fmla="*/ 3138969 h 3138969"/>
              <a:gd name="connsiteX3" fmla="*/ 579722 w 2772041"/>
              <a:gd name="connsiteY3" fmla="*/ 3128747 h 3138969"/>
              <a:gd name="connsiteX4" fmla="*/ 0 w 2772041"/>
              <a:gd name="connsiteY4" fmla="*/ 2549025 h 3138969"/>
              <a:gd name="connsiteX5" fmla="*/ 0 w 2772041"/>
              <a:gd name="connsiteY5" fmla="*/ 1656 h 313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72041" h="3138969">
                <a:moveTo>
                  <a:pt x="0" y="1656"/>
                </a:moveTo>
                <a:lnTo>
                  <a:pt x="2769627" y="0"/>
                </a:lnTo>
                <a:cubicBezTo>
                  <a:pt x="2770532" y="2146807"/>
                  <a:pt x="2771136" y="992162"/>
                  <a:pt x="2772041" y="3138969"/>
                </a:cubicBezTo>
                <a:lnTo>
                  <a:pt x="579722" y="3128747"/>
                </a:lnTo>
                <a:cubicBezTo>
                  <a:pt x="259550" y="3128747"/>
                  <a:pt x="0" y="2869197"/>
                  <a:pt x="0" y="2549025"/>
                </a:cubicBezTo>
                <a:lnTo>
                  <a:pt x="0" y="1656"/>
                </a:ln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JP"/>
              <a:t>Insert Picture/Text Block</a:t>
            </a:r>
          </a:p>
        </p:txBody>
      </p:sp>
      <p:sp>
        <p:nvSpPr>
          <p:cNvPr id="24" name="Picture Placeholder 9">
            <a:extLst>
              <a:ext uri="{FF2B5EF4-FFF2-40B4-BE49-F238E27FC236}">
                <a16:creationId xmlns:a16="http://schemas.microsoft.com/office/drawing/2014/main" id="{AA8F528A-C9DE-0B46-881A-43E0F9B6F67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2555209" y="3076287"/>
            <a:ext cx="1926218" cy="3138969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18553"/>
              <a:gd name="connsiteX1" fmla="*/ 8912928 w 8915642"/>
              <a:gd name="connsiteY1" fmla="*/ 176478 h 6618553"/>
              <a:gd name="connsiteX2" fmla="*/ 8915642 w 8915642"/>
              <a:gd name="connsiteY2" fmla="*/ 6616899 h 6618553"/>
              <a:gd name="connsiteX3" fmla="*/ 579722 w 8915642"/>
              <a:gd name="connsiteY3" fmla="*/ 6618553 h 6618553"/>
              <a:gd name="connsiteX4" fmla="*/ 0 w 8915642"/>
              <a:gd name="connsiteY4" fmla="*/ 6038831 h 6618553"/>
              <a:gd name="connsiteX5" fmla="*/ 0 w 8915642"/>
              <a:gd name="connsiteY5" fmla="*/ 1 h 6618553"/>
              <a:gd name="connsiteX0" fmla="*/ 0 w 8915642"/>
              <a:gd name="connsiteY0" fmla="*/ 25404 h 6643956"/>
              <a:gd name="connsiteX1" fmla="*/ 6015348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25404 h 6643956"/>
              <a:gd name="connsiteX0" fmla="*/ 0 w 8915642"/>
              <a:gd name="connsiteY0" fmla="*/ 1653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1653 h 6620205"/>
              <a:gd name="connsiteX0" fmla="*/ 0 w 8915642"/>
              <a:gd name="connsiteY0" fmla="*/ 96656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96656 h 6620205"/>
              <a:gd name="connsiteX0" fmla="*/ 0 w 8915642"/>
              <a:gd name="connsiteY0" fmla="*/ 0 h 6642302"/>
              <a:gd name="connsiteX1" fmla="*/ 6003473 w 8915642"/>
              <a:gd name="connsiteY1" fmla="*/ 22097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0 h 6642302"/>
              <a:gd name="connsiteX1" fmla="*/ 5932221 w 8915642"/>
              <a:gd name="connsiteY1" fmla="*/ 152725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1654 h 6643956"/>
              <a:gd name="connsiteX1" fmla="*/ 6003473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1654 h 6643956"/>
              <a:gd name="connsiteX0" fmla="*/ 0 w 6018062"/>
              <a:gd name="connsiteY0" fmla="*/ 1654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1654 h 6654178"/>
              <a:gd name="connsiteX0" fmla="*/ 0 w 6018062"/>
              <a:gd name="connsiteY0" fmla="*/ 203535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203535 h 6654178"/>
              <a:gd name="connsiteX0" fmla="*/ 0 w 6018062"/>
              <a:gd name="connsiteY0" fmla="*/ 1655 h 6452298"/>
              <a:gd name="connsiteX1" fmla="*/ 4055920 w 6018062"/>
              <a:gd name="connsiteY1" fmla="*/ 0 h 6452298"/>
              <a:gd name="connsiteX2" fmla="*/ 6018062 w 6018062"/>
              <a:gd name="connsiteY2" fmla="*/ 6452298 h 6452298"/>
              <a:gd name="connsiteX3" fmla="*/ 579722 w 6018062"/>
              <a:gd name="connsiteY3" fmla="*/ 6442076 h 6452298"/>
              <a:gd name="connsiteX4" fmla="*/ 0 w 6018062"/>
              <a:gd name="connsiteY4" fmla="*/ 5862354 h 6452298"/>
              <a:gd name="connsiteX5" fmla="*/ 0 w 6018062"/>
              <a:gd name="connsiteY5" fmla="*/ 1655 h 6452298"/>
              <a:gd name="connsiteX0" fmla="*/ 0 w 4055973"/>
              <a:gd name="connsiteY0" fmla="*/ 1655 h 6452298"/>
              <a:gd name="connsiteX1" fmla="*/ 4055920 w 4055973"/>
              <a:gd name="connsiteY1" fmla="*/ 0 h 6452298"/>
              <a:gd name="connsiteX2" fmla="*/ 4046758 w 4055973"/>
              <a:gd name="connsiteY2" fmla="*/ 6452298 h 6452298"/>
              <a:gd name="connsiteX3" fmla="*/ 579722 w 4055973"/>
              <a:gd name="connsiteY3" fmla="*/ 6442076 h 6452298"/>
              <a:gd name="connsiteX4" fmla="*/ 0 w 4055973"/>
              <a:gd name="connsiteY4" fmla="*/ 5862354 h 6452298"/>
              <a:gd name="connsiteX5" fmla="*/ 0 w 4055973"/>
              <a:gd name="connsiteY5" fmla="*/ 1655 h 6452298"/>
              <a:gd name="connsiteX0" fmla="*/ 0 w 4055973"/>
              <a:gd name="connsiteY0" fmla="*/ 0 h 6652523"/>
              <a:gd name="connsiteX1" fmla="*/ 4055920 w 4055973"/>
              <a:gd name="connsiteY1" fmla="*/ 200225 h 6652523"/>
              <a:gd name="connsiteX2" fmla="*/ 4046758 w 4055973"/>
              <a:gd name="connsiteY2" fmla="*/ 6652523 h 6652523"/>
              <a:gd name="connsiteX3" fmla="*/ 579722 w 4055973"/>
              <a:gd name="connsiteY3" fmla="*/ 6642301 h 6652523"/>
              <a:gd name="connsiteX4" fmla="*/ 0 w 4055973"/>
              <a:gd name="connsiteY4" fmla="*/ 6062579 h 6652523"/>
              <a:gd name="connsiteX5" fmla="*/ 0 w 4055973"/>
              <a:gd name="connsiteY5" fmla="*/ 0 h 6652523"/>
              <a:gd name="connsiteX0" fmla="*/ 0 w 4046758"/>
              <a:gd name="connsiteY0" fmla="*/ 0 h 6652523"/>
              <a:gd name="connsiteX1" fmla="*/ 4044045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1655 h 6654178"/>
              <a:gd name="connsiteX1" fmla="*/ 3082144 w 4046758"/>
              <a:gd name="connsiteY1" fmla="*/ 0 h 6654178"/>
              <a:gd name="connsiteX2" fmla="*/ 4046758 w 4046758"/>
              <a:gd name="connsiteY2" fmla="*/ 6654178 h 6654178"/>
              <a:gd name="connsiteX3" fmla="*/ 579722 w 4046758"/>
              <a:gd name="connsiteY3" fmla="*/ 6643956 h 6654178"/>
              <a:gd name="connsiteX4" fmla="*/ 0 w 4046758"/>
              <a:gd name="connsiteY4" fmla="*/ 6064234 h 6654178"/>
              <a:gd name="connsiteX5" fmla="*/ 0 w 4046758"/>
              <a:gd name="connsiteY5" fmla="*/ 1655 h 6654178"/>
              <a:gd name="connsiteX0" fmla="*/ 0 w 4046758"/>
              <a:gd name="connsiteY0" fmla="*/ 0 h 6652523"/>
              <a:gd name="connsiteX1" fmla="*/ 2975266 w 4046758"/>
              <a:gd name="connsiteY1" fmla="*/ 93348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70268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82144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3082197"/>
              <a:gd name="connsiteY0" fmla="*/ 0 h 6652523"/>
              <a:gd name="connsiteX1" fmla="*/ 3082144 w 3082197"/>
              <a:gd name="connsiteY1" fmla="*/ 10220 h 6652523"/>
              <a:gd name="connsiteX2" fmla="*/ 3072982 w 3082197"/>
              <a:gd name="connsiteY2" fmla="*/ 6652523 h 6652523"/>
              <a:gd name="connsiteX3" fmla="*/ 579722 w 3082197"/>
              <a:gd name="connsiteY3" fmla="*/ 6642301 h 6652523"/>
              <a:gd name="connsiteX4" fmla="*/ 0 w 3082197"/>
              <a:gd name="connsiteY4" fmla="*/ 6062579 h 6652523"/>
              <a:gd name="connsiteX5" fmla="*/ 0 w 3082197"/>
              <a:gd name="connsiteY5" fmla="*/ 0 h 6652523"/>
              <a:gd name="connsiteX0" fmla="*/ 0 w 3072982"/>
              <a:gd name="connsiteY0" fmla="*/ 0 h 6652523"/>
              <a:gd name="connsiteX1" fmla="*/ 3010892 w 3072982"/>
              <a:gd name="connsiteY1" fmla="*/ 164599 h 6652523"/>
              <a:gd name="connsiteX2" fmla="*/ 3072982 w 3072982"/>
              <a:gd name="connsiteY2" fmla="*/ 6652523 h 6652523"/>
              <a:gd name="connsiteX3" fmla="*/ 579722 w 3072982"/>
              <a:gd name="connsiteY3" fmla="*/ 6642301 h 6652523"/>
              <a:gd name="connsiteX4" fmla="*/ 0 w 3072982"/>
              <a:gd name="connsiteY4" fmla="*/ 6062579 h 6652523"/>
              <a:gd name="connsiteX5" fmla="*/ 0 w 3072982"/>
              <a:gd name="connsiteY5" fmla="*/ 0 h 6652523"/>
              <a:gd name="connsiteX0" fmla="*/ 0 w 3082197"/>
              <a:gd name="connsiteY0" fmla="*/ 1656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656 h 6654179"/>
              <a:gd name="connsiteX0" fmla="*/ 0 w 3082197"/>
              <a:gd name="connsiteY0" fmla="*/ 1316107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316107 h 6654179"/>
              <a:gd name="connsiteX0" fmla="*/ 0 w 3082197"/>
              <a:gd name="connsiteY0" fmla="*/ 1657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1657 h 5339729"/>
              <a:gd name="connsiteX0" fmla="*/ 0 w 3082197"/>
              <a:gd name="connsiteY0" fmla="*/ 2202416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2202416 h 5339729"/>
              <a:gd name="connsiteX0" fmla="*/ 0 w 3082197"/>
              <a:gd name="connsiteY0" fmla="*/ 1656 h 3138969"/>
              <a:gd name="connsiteX1" fmla="*/ 3082144 w 3082197"/>
              <a:gd name="connsiteY1" fmla="*/ 0 h 3138969"/>
              <a:gd name="connsiteX2" fmla="*/ 3072982 w 3082197"/>
              <a:gd name="connsiteY2" fmla="*/ 3138969 h 3138969"/>
              <a:gd name="connsiteX3" fmla="*/ 579722 w 3082197"/>
              <a:gd name="connsiteY3" fmla="*/ 3128747 h 3138969"/>
              <a:gd name="connsiteX4" fmla="*/ 0 w 3082197"/>
              <a:gd name="connsiteY4" fmla="*/ 2549025 h 3138969"/>
              <a:gd name="connsiteX5" fmla="*/ 0 w 3082197"/>
              <a:gd name="connsiteY5" fmla="*/ 1656 h 3138969"/>
              <a:gd name="connsiteX0" fmla="*/ 0 w 3082145"/>
              <a:gd name="connsiteY0" fmla="*/ 1656 h 3150544"/>
              <a:gd name="connsiteX1" fmla="*/ 3082144 w 3082145"/>
              <a:gd name="connsiteY1" fmla="*/ 0 h 3150544"/>
              <a:gd name="connsiteX2" fmla="*/ 2772041 w 3082145"/>
              <a:gd name="connsiteY2" fmla="*/ 3150544 h 3150544"/>
              <a:gd name="connsiteX3" fmla="*/ 579722 w 3082145"/>
              <a:gd name="connsiteY3" fmla="*/ 3128747 h 3150544"/>
              <a:gd name="connsiteX4" fmla="*/ 0 w 3082145"/>
              <a:gd name="connsiteY4" fmla="*/ 2549025 h 3150544"/>
              <a:gd name="connsiteX5" fmla="*/ 0 w 3082145"/>
              <a:gd name="connsiteY5" fmla="*/ 1656 h 3150544"/>
              <a:gd name="connsiteX0" fmla="*/ 0 w 2772041"/>
              <a:gd name="connsiteY0" fmla="*/ 1656 h 3150544"/>
              <a:gd name="connsiteX1" fmla="*/ 2769627 w 2772041"/>
              <a:gd name="connsiteY1" fmla="*/ 0 h 3150544"/>
              <a:gd name="connsiteX2" fmla="*/ 2772041 w 2772041"/>
              <a:gd name="connsiteY2" fmla="*/ 3150544 h 3150544"/>
              <a:gd name="connsiteX3" fmla="*/ 579722 w 2772041"/>
              <a:gd name="connsiteY3" fmla="*/ 3128747 h 3150544"/>
              <a:gd name="connsiteX4" fmla="*/ 0 w 2772041"/>
              <a:gd name="connsiteY4" fmla="*/ 2549025 h 3150544"/>
              <a:gd name="connsiteX5" fmla="*/ 0 w 2772041"/>
              <a:gd name="connsiteY5" fmla="*/ 1656 h 3150544"/>
              <a:gd name="connsiteX0" fmla="*/ 0 w 2772041"/>
              <a:gd name="connsiteY0" fmla="*/ 1656 h 3138969"/>
              <a:gd name="connsiteX1" fmla="*/ 2769627 w 2772041"/>
              <a:gd name="connsiteY1" fmla="*/ 0 h 3138969"/>
              <a:gd name="connsiteX2" fmla="*/ 2772041 w 2772041"/>
              <a:gd name="connsiteY2" fmla="*/ 3138969 h 3138969"/>
              <a:gd name="connsiteX3" fmla="*/ 579722 w 2772041"/>
              <a:gd name="connsiteY3" fmla="*/ 3128747 h 3138969"/>
              <a:gd name="connsiteX4" fmla="*/ 0 w 2772041"/>
              <a:gd name="connsiteY4" fmla="*/ 2549025 h 3138969"/>
              <a:gd name="connsiteX5" fmla="*/ 0 w 2772041"/>
              <a:gd name="connsiteY5" fmla="*/ 1656 h 313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72041" h="3138969">
                <a:moveTo>
                  <a:pt x="0" y="1656"/>
                </a:moveTo>
                <a:lnTo>
                  <a:pt x="2769627" y="0"/>
                </a:lnTo>
                <a:cubicBezTo>
                  <a:pt x="2770532" y="2146807"/>
                  <a:pt x="2771136" y="992162"/>
                  <a:pt x="2772041" y="3138969"/>
                </a:cubicBezTo>
                <a:lnTo>
                  <a:pt x="579722" y="3128747"/>
                </a:lnTo>
                <a:cubicBezTo>
                  <a:pt x="259550" y="3128747"/>
                  <a:pt x="0" y="2869197"/>
                  <a:pt x="0" y="2549025"/>
                </a:cubicBezTo>
                <a:lnTo>
                  <a:pt x="0" y="1656"/>
                </a:ln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JP"/>
              <a:t>Insert Picture/Text Block</a:t>
            </a:r>
          </a:p>
        </p:txBody>
      </p:sp>
      <p:sp>
        <p:nvSpPr>
          <p:cNvPr id="25" name="Picture Placeholder 9">
            <a:extLst>
              <a:ext uri="{FF2B5EF4-FFF2-40B4-BE49-F238E27FC236}">
                <a16:creationId xmlns:a16="http://schemas.microsoft.com/office/drawing/2014/main" id="{E01CF285-75D7-154A-ACF2-9393FB0B38D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670887" y="3076287"/>
            <a:ext cx="1926218" cy="3138969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18553"/>
              <a:gd name="connsiteX1" fmla="*/ 8912928 w 8915642"/>
              <a:gd name="connsiteY1" fmla="*/ 176478 h 6618553"/>
              <a:gd name="connsiteX2" fmla="*/ 8915642 w 8915642"/>
              <a:gd name="connsiteY2" fmla="*/ 6616899 h 6618553"/>
              <a:gd name="connsiteX3" fmla="*/ 579722 w 8915642"/>
              <a:gd name="connsiteY3" fmla="*/ 6618553 h 6618553"/>
              <a:gd name="connsiteX4" fmla="*/ 0 w 8915642"/>
              <a:gd name="connsiteY4" fmla="*/ 6038831 h 6618553"/>
              <a:gd name="connsiteX5" fmla="*/ 0 w 8915642"/>
              <a:gd name="connsiteY5" fmla="*/ 1 h 6618553"/>
              <a:gd name="connsiteX0" fmla="*/ 0 w 8915642"/>
              <a:gd name="connsiteY0" fmla="*/ 25404 h 6643956"/>
              <a:gd name="connsiteX1" fmla="*/ 6015348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25404 h 6643956"/>
              <a:gd name="connsiteX0" fmla="*/ 0 w 8915642"/>
              <a:gd name="connsiteY0" fmla="*/ 1653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1653 h 6620205"/>
              <a:gd name="connsiteX0" fmla="*/ 0 w 8915642"/>
              <a:gd name="connsiteY0" fmla="*/ 96656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96656 h 6620205"/>
              <a:gd name="connsiteX0" fmla="*/ 0 w 8915642"/>
              <a:gd name="connsiteY0" fmla="*/ 0 h 6642302"/>
              <a:gd name="connsiteX1" fmla="*/ 6003473 w 8915642"/>
              <a:gd name="connsiteY1" fmla="*/ 22097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0 h 6642302"/>
              <a:gd name="connsiteX1" fmla="*/ 5932221 w 8915642"/>
              <a:gd name="connsiteY1" fmla="*/ 152725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1654 h 6643956"/>
              <a:gd name="connsiteX1" fmla="*/ 6003473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1654 h 6643956"/>
              <a:gd name="connsiteX0" fmla="*/ 0 w 6018062"/>
              <a:gd name="connsiteY0" fmla="*/ 1654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1654 h 6654178"/>
              <a:gd name="connsiteX0" fmla="*/ 0 w 6018062"/>
              <a:gd name="connsiteY0" fmla="*/ 203535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203535 h 6654178"/>
              <a:gd name="connsiteX0" fmla="*/ 0 w 6018062"/>
              <a:gd name="connsiteY0" fmla="*/ 1655 h 6452298"/>
              <a:gd name="connsiteX1" fmla="*/ 4055920 w 6018062"/>
              <a:gd name="connsiteY1" fmla="*/ 0 h 6452298"/>
              <a:gd name="connsiteX2" fmla="*/ 6018062 w 6018062"/>
              <a:gd name="connsiteY2" fmla="*/ 6452298 h 6452298"/>
              <a:gd name="connsiteX3" fmla="*/ 579722 w 6018062"/>
              <a:gd name="connsiteY3" fmla="*/ 6442076 h 6452298"/>
              <a:gd name="connsiteX4" fmla="*/ 0 w 6018062"/>
              <a:gd name="connsiteY4" fmla="*/ 5862354 h 6452298"/>
              <a:gd name="connsiteX5" fmla="*/ 0 w 6018062"/>
              <a:gd name="connsiteY5" fmla="*/ 1655 h 6452298"/>
              <a:gd name="connsiteX0" fmla="*/ 0 w 4055973"/>
              <a:gd name="connsiteY0" fmla="*/ 1655 h 6452298"/>
              <a:gd name="connsiteX1" fmla="*/ 4055920 w 4055973"/>
              <a:gd name="connsiteY1" fmla="*/ 0 h 6452298"/>
              <a:gd name="connsiteX2" fmla="*/ 4046758 w 4055973"/>
              <a:gd name="connsiteY2" fmla="*/ 6452298 h 6452298"/>
              <a:gd name="connsiteX3" fmla="*/ 579722 w 4055973"/>
              <a:gd name="connsiteY3" fmla="*/ 6442076 h 6452298"/>
              <a:gd name="connsiteX4" fmla="*/ 0 w 4055973"/>
              <a:gd name="connsiteY4" fmla="*/ 5862354 h 6452298"/>
              <a:gd name="connsiteX5" fmla="*/ 0 w 4055973"/>
              <a:gd name="connsiteY5" fmla="*/ 1655 h 6452298"/>
              <a:gd name="connsiteX0" fmla="*/ 0 w 4055973"/>
              <a:gd name="connsiteY0" fmla="*/ 0 h 6652523"/>
              <a:gd name="connsiteX1" fmla="*/ 4055920 w 4055973"/>
              <a:gd name="connsiteY1" fmla="*/ 200225 h 6652523"/>
              <a:gd name="connsiteX2" fmla="*/ 4046758 w 4055973"/>
              <a:gd name="connsiteY2" fmla="*/ 6652523 h 6652523"/>
              <a:gd name="connsiteX3" fmla="*/ 579722 w 4055973"/>
              <a:gd name="connsiteY3" fmla="*/ 6642301 h 6652523"/>
              <a:gd name="connsiteX4" fmla="*/ 0 w 4055973"/>
              <a:gd name="connsiteY4" fmla="*/ 6062579 h 6652523"/>
              <a:gd name="connsiteX5" fmla="*/ 0 w 4055973"/>
              <a:gd name="connsiteY5" fmla="*/ 0 h 6652523"/>
              <a:gd name="connsiteX0" fmla="*/ 0 w 4046758"/>
              <a:gd name="connsiteY0" fmla="*/ 0 h 6652523"/>
              <a:gd name="connsiteX1" fmla="*/ 4044045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1655 h 6654178"/>
              <a:gd name="connsiteX1" fmla="*/ 3082144 w 4046758"/>
              <a:gd name="connsiteY1" fmla="*/ 0 h 6654178"/>
              <a:gd name="connsiteX2" fmla="*/ 4046758 w 4046758"/>
              <a:gd name="connsiteY2" fmla="*/ 6654178 h 6654178"/>
              <a:gd name="connsiteX3" fmla="*/ 579722 w 4046758"/>
              <a:gd name="connsiteY3" fmla="*/ 6643956 h 6654178"/>
              <a:gd name="connsiteX4" fmla="*/ 0 w 4046758"/>
              <a:gd name="connsiteY4" fmla="*/ 6064234 h 6654178"/>
              <a:gd name="connsiteX5" fmla="*/ 0 w 4046758"/>
              <a:gd name="connsiteY5" fmla="*/ 1655 h 6654178"/>
              <a:gd name="connsiteX0" fmla="*/ 0 w 4046758"/>
              <a:gd name="connsiteY0" fmla="*/ 0 h 6652523"/>
              <a:gd name="connsiteX1" fmla="*/ 2975266 w 4046758"/>
              <a:gd name="connsiteY1" fmla="*/ 93348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70268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82144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3082197"/>
              <a:gd name="connsiteY0" fmla="*/ 0 h 6652523"/>
              <a:gd name="connsiteX1" fmla="*/ 3082144 w 3082197"/>
              <a:gd name="connsiteY1" fmla="*/ 10220 h 6652523"/>
              <a:gd name="connsiteX2" fmla="*/ 3072982 w 3082197"/>
              <a:gd name="connsiteY2" fmla="*/ 6652523 h 6652523"/>
              <a:gd name="connsiteX3" fmla="*/ 579722 w 3082197"/>
              <a:gd name="connsiteY3" fmla="*/ 6642301 h 6652523"/>
              <a:gd name="connsiteX4" fmla="*/ 0 w 3082197"/>
              <a:gd name="connsiteY4" fmla="*/ 6062579 h 6652523"/>
              <a:gd name="connsiteX5" fmla="*/ 0 w 3082197"/>
              <a:gd name="connsiteY5" fmla="*/ 0 h 6652523"/>
              <a:gd name="connsiteX0" fmla="*/ 0 w 3072982"/>
              <a:gd name="connsiteY0" fmla="*/ 0 h 6652523"/>
              <a:gd name="connsiteX1" fmla="*/ 3010892 w 3072982"/>
              <a:gd name="connsiteY1" fmla="*/ 164599 h 6652523"/>
              <a:gd name="connsiteX2" fmla="*/ 3072982 w 3072982"/>
              <a:gd name="connsiteY2" fmla="*/ 6652523 h 6652523"/>
              <a:gd name="connsiteX3" fmla="*/ 579722 w 3072982"/>
              <a:gd name="connsiteY3" fmla="*/ 6642301 h 6652523"/>
              <a:gd name="connsiteX4" fmla="*/ 0 w 3072982"/>
              <a:gd name="connsiteY4" fmla="*/ 6062579 h 6652523"/>
              <a:gd name="connsiteX5" fmla="*/ 0 w 3072982"/>
              <a:gd name="connsiteY5" fmla="*/ 0 h 6652523"/>
              <a:gd name="connsiteX0" fmla="*/ 0 w 3082197"/>
              <a:gd name="connsiteY0" fmla="*/ 1656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656 h 6654179"/>
              <a:gd name="connsiteX0" fmla="*/ 0 w 3082197"/>
              <a:gd name="connsiteY0" fmla="*/ 1316107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316107 h 6654179"/>
              <a:gd name="connsiteX0" fmla="*/ 0 w 3082197"/>
              <a:gd name="connsiteY0" fmla="*/ 1657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1657 h 5339729"/>
              <a:gd name="connsiteX0" fmla="*/ 0 w 3082197"/>
              <a:gd name="connsiteY0" fmla="*/ 2202416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2202416 h 5339729"/>
              <a:gd name="connsiteX0" fmla="*/ 0 w 3082197"/>
              <a:gd name="connsiteY0" fmla="*/ 1656 h 3138969"/>
              <a:gd name="connsiteX1" fmla="*/ 3082144 w 3082197"/>
              <a:gd name="connsiteY1" fmla="*/ 0 h 3138969"/>
              <a:gd name="connsiteX2" fmla="*/ 3072982 w 3082197"/>
              <a:gd name="connsiteY2" fmla="*/ 3138969 h 3138969"/>
              <a:gd name="connsiteX3" fmla="*/ 579722 w 3082197"/>
              <a:gd name="connsiteY3" fmla="*/ 3128747 h 3138969"/>
              <a:gd name="connsiteX4" fmla="*/ 0 w 3082197"/>
              <a:gd name="connsiteY4" fmla="*/ 2549025 h 3138969"/>
              <a:gd name="connsiteX5" fmla="*/ 0 w 3082197"/>
              <a:gd name="connsiteY5" fmla="*/ 1656 h 3138969"/>
              <a:gd name="connsiteX0" fmla="*/ 0 w 3082145"/>
              <a:gd name="connsiteY0" fmla="*/ 1656 h 3150544"/>
              <a:gd name="connsiteX1" fmla="*/ 3082144 w 3082145"/>
              <a:gd name="connsiteY1" fmla="*/ 0 h 3150544"/>
              <a:gd name="connsiteX2" fmla="*/ 2772041 w 3082145"/>
              <a:gd name="connsiteY2" fmla="*/ 3150544 h 3150544"/>
              <a:gd name="connsiteX3" fmla="*/ 579722 w 3082145"/>
              <a:gd name="connsiteY3" fmla="*/ 3128747 h 3150544"/>
              <a:gd name="connsiteX4" fmla="*/ 0 w 3082145"/>
              <a:gd name="connsiteY4" fmla="*/ 2549025 h 3150544"/>
              <a:gd name="connsiteX5" fmla="*/ 0 w 3082145"/>
              <a:gd name="connsiteY5" fmla="*/ 1656 h 3150544"/>
              <a:gd name="connsiteX0" fmla="*/ 0 w 2772041"/>
              <a:gd name="connsiteY0" fmla="*/ 1656 h 3150544"/>
              <a:gd name="connsiteX1" fmla="*/ 2769627 w 2772041"/>
              <a:gd name="connsiteY1" fmla="*/ 0 h 3150544"/>
              <a:gd name="connsiteX2" fmla="*/ 2772041 w 2772041"/>
              <a:gd name="connsiteY2" fmla="*/ 3150544 h 3150544"/>
              <a:gd name="connsiteX3" fmla="*/ 579722 w 2772041"/>
              <a:gd name="connsiteY3" fmla="*/ 3128747 h 3150544"/>
              <a:gd name="connsiteX4" fmla="*/ 0 w 2772041"/>
              <a:gd name="connsiteY4" fmla="*/ 2549025 h 3150544"/>
              <a:gd name="connsiteX5" fmla="*/ 0 w 2772041"/>
              <a:gd name="connsiteY5" fmla="*/ 1656 h 3150544"/>
              <a:gd name="connsiteX0" fmla="*/ 0 w 2772041"/>
              <a:gd name="connsiteY0" fmla="*/ 1656 h 3138969"/>
              <a:gd name="connsiteX1" fmla="*/ 2769627 w 2772041"/>
              <a:gd name="connsiteY1" fmla="*/ 0 h 3138969"/>
              <a:gd name="connsiteX2" fmla="*/ 2772041 w 2772041"/>
              <a:gd name="connsiteY2" fmla="*/ 3138969 h 3138969"/>
              <a:gd name="connsiteX3" fmla="*/ 579722 w 2772041"/>
              <a:gd name="connsiteY3" fmla="*/ 3128747 h 3138969"/>
              <a:gd name="connsiteX4" fmla="*/ 0 w 2772041"/>
              <a:gd name="connsiteY4" fmla="*/ 2549025 h 3138969"/>
              <a:gd name="connsiteX5" fmla="*/ 0 w 2772041"/>
              <a:gd name="connsiteY5" fmla="*/ 1656 h 313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72041" h="3138969">
                <a:moveTo>
                  <a:pt x="0" y="1656"/>
                </a:moveTo>
                <a:lnTo>
                  <a:pt x="2769627" y="0"/>
                </a:lnTo>
                <a:cubicBezTo>
                  <a:pt x="2770532" y="2146807"/>
                  <a:pt x="2771136" y="992162"/>
                  <a:pt x="2772041" y="3138969"/>
                </a:cubicBezTo>
                <a:lnTo>
                  <a:pt x="579722" y="3128747"/>
                </a:lnTo>
                <a:cubicBezTo>
                  <a:pt x="259550" y="3128747"/>
                  <a:pt x="0" y="2869197"/>
                  <a:pt x="0" y="2549025"/>
                </a:cubicBezTo>
                <a:lnTo>
                  <a:pt x="0" y="1656"/>
                </a:ln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US"/>
              <a:t>Insert Picture/Text Block</a:t>
            </a:r>
          </a:p>
          <a:p>
            <a:endParaRPr lang="en-US"/>
          </a:p>
          <a:p>
            <a:endParaRPr lang="en-JP"/>
          </a:p>
        </p:txBody>
      </p:sp>
      <p:sp>
        <p:nvSpPr>
          <p:cNvPr id="18" name="タイトル プレースホルダ 1">
            <a:extLst>
              <a:ext uri="{FF2B5EF4-FFF2-40B4-BE49-F238E27FC236}">
                <a16:creationId xmlns:a16="http://schemas.microsoft.com/office/drawing/2014/main" id="{4FBB8310-69E6-7C4E-A4B1-C022B6FEE2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7455190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17" name="Footer Placeholder 8">
            <a:extLst>
              <a:ext uri="{FF2B5EF4-FFF2-40B4-BE49-F238E27FC236}">
                <a16:creationId xmlns:a16="http://schemas.microsoft.com/office/drawing/2014/main" id="{4EF39473-C435-3C4E-9C7B-048D52C3CC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24538" y="6523002"/>
            <a:ext cx="30861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600" b="1" spc="75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 </a:t>
            </a:r>
            <a:endParaRPr lang="en-JP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EF9AE6-D84E-9F43-9506-6676EC51B210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8" name="スライド番号プレースホルダ 5">
            <a:extLst>
              <a:ext uri="{FF2B5EF4-FFF2-40B4-BE49-F238E27FC236}">
                <a16:creationId xmlns:a16="http://schemas.microsoft.com/office/drawing/2014/main" id="{F964ADE6-9B0D-EC45-959C-FEEA5CDDFB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914108"/>
            <a:fld id="{E9B57936-92EF-4126-AE48-1D9D36D15E98}" type="slidenum">
              <a:rPr lang="ja-JP" altLang="en-US" smtClean="0"/>
              <a:pPr defTabSz="914108"/>
              <a:t>‹#›</a:t>
            </a:fld>
            <a:endParaRPr lang="ja-JP" altLang="en-US"/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870D8562-3CE7-7044-9BB0-2068A81BF5C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99C450B-0755-7D4A-9672-E700D6F2E50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4558" y="1491374"/>
            <a:ext cx="8260817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/>
            </a:lvl1pPr>
            <a:lvl2pPr marL="342801" indent="0">
              <a:buNone/>
              <a:defRPr sz="1350" b="1"/>
            </a:lvl2pPr>
            <a:lvl3pPr marL="685612" indent="0">
              <a:buNone/>
              <a:defRPr sz="1350" b="1"/>
            </a:lvl3pPr>
            <a:lvl4pPr marL="1028414" indent="0">
              <a:buNone/>
              <a:defRPr sz="1350" b="1"/>
            </a:lvl4pPr>
            <a:lvl5pPr marL="1371218" indent="0">
              <a:buNone/>
              <a:defRPr sz="135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705B1BEB-AC9F-9643-A446-ABE1DDB9614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4558" y="1093767"/>
            <a:ext cx="8283158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50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Primary Title</a:t>
            </a:r>
          </a:p>
        </p:txBody>
      </p:sp>
      <p:pic>
        <p:nvPicPr>
          <p:cNvPr id="15" name="Picture 14" descr="Takeda">
            <a:extLst>
              <a:ext uri="{FF2B5EF4-FFF2-40B4-BE49-F238E27FC236}">
                <a16:creationId xmlns:a16="http://schemas.microsoft.com/office/drawing/2014/main" id="{1E6B9304-4033-4A7D-97BB-EEC5A9E33E0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3373" y="-1615"/>
            <a:ext cx="1272174" cy="940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593809"/>
      </p:ext>
    </p:extLst>
  </p:cSld>
  <p:clrMapOvr>
    <a:masterClrMapping/>
  </p:clrMapOvr>
  <p:transition spd="slow">
    <p:push dir="u"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dvanced Chart Full Wid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A6D4E593-FDCC-D14E-9C5E-5F309E415C26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440532" y="3076287"/>
            <a:ext cx="8274844" cy="33403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/>
            </a:lvl1pPr>
          </a:lstStyle>
          <a:p>
            <a:r>
              <a:rPr lang="en-JP"/>
              <a:t>Insert Chart</a:t>
            </a:r>
          </a:p>
        </p:txBody>
      </p:sp>
      <p:sp>
        <p:nvSpPr>
          <p:cNvPr id="12" name="タイトル プレースホルダ 1">
            <a:extLst>
              <a:ext uri="{FF2B5EF4-FFF2-40B4-BE49-F238E27FC236}">
                <a16:creationId xmlns:a16="http://schemas.microsoft.com/office/drawing/2014/main" id="{75E45CD2-2EBD-AE47-837E-9F752C565F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7455190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17" name="Footer Placeholder 8">
            <a:extLst>
              <a:ext uri="{FF2B5EF4-FFF2-40B4-BE49-F238E27FC236}">
                <a16:creationId xmlns:a16="http://schemas.microsoft.com/office/drawing/2014/main" id="{2DC26CE8-1DEF-EE42-861C-B0406E8DC2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24538" y="6523002"/>
            <a:ext cx="30861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600" b="1" spc="75" baseline="0">
                <a:solidFill>
                  <a:schemeClr val="tx1"/>
                </a:solidFill>
              </a:defRPr>
            </a:lvl1pPr>
          </a:lstStyle>
          <a:p>
            <a:r>
              <a:rPr lang="en-JP"/>
              <a:t> 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436966D-3DF0-4D41-9D26-4860D147F807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3" name="スライド番号プレースホルダ 5">
            <a:extLst>
              <a:ext uri="{FF2B5EF4-FFF2-40B4-BE49-F238E27FC236}">
                <a16:creationId xmlns:a16="http://schemas.microsoft.com/office/drawing/2014/main" id="{600920FB-2D44-F645-865D-89FFECB095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914108"/>
            <a:fld id="{E9B57936-92EF-4126-AE48-1D9D36D15E98}" type="slidenum">
              <a:rPr lang="ja-JP" altLang="en-US" smtClean="0"/>
              <a:pPr defTabSz="914108"/>
              <a:t>‹#›</a:t>
            </a:fld>
            <a:endParaRPr lang="ja-JP" altLang="en-US"/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07DE8F7E-1418-1C4C-A62B-2385714992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628A960D-6A45-6744-9BDB-7070B443CC6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0531" y="1491374"/>
            <a:ext cx="8274845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/>
            </a:lvl1pPr>
            <a:lvl2pPr marL="342801" indent="0">
              <a:buNone/>
              <a:defRPr sz="1350" b="1"/>
            </a:lvl2pPr>
            <a:lvl3pPr marL="685612" indent="0">
              <a:buNone/>
              <a:defRPr sz="1350" b="1"/>
            </a:lvl3pPr>
            <a:lvl4pPr marL="1028414" indent="0">
              <a:buNone/>
              <a:defRPr sz="1350" b="1"/>
            </a:lvl4pPr>
            <a:lvl5pPr marL="1371218" indent="0">
              <a:buNone/>
              <a:defRPr sz="135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21493179-5EA4-604B-A9DF-BDA818F0166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40532" y="1093767"/>
            <a:ext cx="8274844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50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Primary Title</a:t>
            </a:r>
          </a:p>
        </p:txBody>
      </p:sp>
      <p:pic>
        <p:nvPicPr>
          <p:cNvPr id="13" name="Picture 12" descr="Takeda">
            <a:extLst>
              <a:ext uri="{FF2B5EF4-FFF2-40B4-BE49-F238E27FC236}">
                <a16:creationId xmlns:a16="http://schemas.microsoft.com/office/drawing/2014/main" id="{426EF198-89BF-4244-8B0A-2A1A1B7AA82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3373" y="-1615"/>
            <a:ext cx="1272174" cy="940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5999174"/>
      </p:ext>
    </p:extLst>
  </p:cSld>
  <p:clrMapOvr>
    <a:masterClrMapping/>
  </p:clrMapOvr>
  <p:transition spd="slow">
    <p:push dir="u"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dvanced Char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A6D4E593-FDCC-D14E-9C5E-5F309E415C26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3170419" y="1093767"/>
            <a:ext cx="5544956" cy="532290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/>
            </a:lvl1pPr>
          </a:lstStyle>
          <a:p>
            <a:r>
              <a:rPr lang="en-JP"/>
              <a:t>Insert Chart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EF65D74B-37DA-0D46-8B56-9B362C84E6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4558" y="3178298"/>
            <a:ext cx="2592779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35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itl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BF5F6A26-5AAA-884F-A319-DE9881530AA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4557" y="3575905"/>
            <a:ext cx="2592780" cy="2840771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28588" indent="-128588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 sz="1050" b="0">
                <a:solidFill>
                  <a:schemeClr val="tx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Secondary text.</a:t>
            </a:r>
          </a:p>
        </p:txBody>
      </p:sp>
      <p:sp>
        <p:nvSpPr>
          <p:cNvPr id="13" name="タイトル プレースホルダ 1">
            <a:extLst>
              <a:ext uri="{FF2B5EF4-FFF2-40B4-BE49-F238E27FC236}">
                <a16:creationId xmlns:a16="http://schemas.microsoft.com/office/drawing/2014/main" id="{2256F400-EDA8-7F44-BF13-278518497C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7455190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15" name="Footer Placeholder 8">
            <a:extLst>
              <a:ext uri="{FF2B5EF4-FFF2-40B4-BE49-F238E27FC236}">
                <a16:creationId xmlns:a16="http://schemas.microsoft.com/office/drawing/2014/main" id="{7136781B-A49B-0A42-B748-01C379A12F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24538" y="6523002"/>
            <a:ext cx="30861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600" b="1" spc="75" baseline="0">
                <a:solidFill>
                  <a:schemeClr val="tx1"/>
                </a:solidFill>
              </a:defRPr>
            </a:lvl1pPr>
          </a:lstStyle>
          <a:p>
            <a:r>
              <a:rPr lang="en-JP"/>
              <a:t>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AC2B0AC-7801-6C42-BA03-0669DC118159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4" name="スライド番号プレースホルダ 5">
            <a:extLst>
              <a:ext uri="{FF2B5EF4-FFF2-40B4-BE49-F238E27FC236}">
                <a16:creationId xmlns:a16="http://schemas.microsoft.com/office/drawing/2014/main" id="{71FCF96E-3BB8-0745-B029-6B6BE42912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914108"/>
            <a:fld id="{E9B57936-92EF-4126-AE48-1D9D36D15E98}" type="slidenum">
              <a:rPr lang="ja-JP" altLang="en-US" smtClean="0"/>
              <a:pPr defTabSz="914108"/>
              <a:t>‹#›</a:t>
            </a:fld>
            <a:endParaRPr lang="ja-JP" altLang="en-US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875659DC-941F-AA40-8336-C3B1BF32BA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5375A5A-6A84-7145-B49C-982F8461940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4558" y="1491374"/>
            <a:ext cx="2592779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/>
            </a:lvl1pPr>
            <a:lvl2pPr marL="342801" indent="0">
              <a:buNone/>
              <a:defRPr sz="1350" b="1"/>
            </a:lvl2pPr>
            <a:lvl3pPr marL="685612" indent="0">
              <a:buNone/>
              <a:defRPr sz="1350" b="1"/>
            </a:lvl3pPr>
            <a:lvl4pPr marL="1028414" indent="0">
              <a:buNone/>
              <a:defRPr sz="1350" b="1"/>
            </a:lvl4pPr>
            <a:lvl5pPr marL="1371218" indent="0">
              <a:buNone/>
              <a:defRPr sz="135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5F7E9041-544E-3547-AC30-65F55E91E1E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4559" y="1093767"/>
            <a:ext cx="2592778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50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Primary Title</a:t>
            </a:r>
          </a:p>
        </p:txBody>
      </p:sp>
      <p:pic>
        <p:nvPicPr>
          <p:cNvPr id="14" name="Picture 13" descr="Takeda">
            <a:extLst>
              <a:ext uri="{FF2B5EF4-FFF2-40B4-BE49-F238E27FC236}">
                <a16:creationId xmlns:a16="http://schemas.microsoft.com/office/drawing/2014/main" id="{5850109F-D08B-4670-8C92-9ADAD5CC855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3373" y="-1615"/>
            <a:ext cx="1272174" cy="940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185801"/>
      </p:ext>
    </p:extLst>
  </p:cSld>
  <p:clrMapOvr>
    <a:masterClrMapping/>
  </p:clrMapOvr>
  <p:transition spd="slow">
    <p:push dir="u"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dvanced Chart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A6D4E593-FDCC-D14E-9C5E-5F309E415C26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454558" y="3076287"/>
            <a:ext cx="4058846" cy="33403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/>
            </a:lvl1pPr>
          </a:lstStyle>
          <a:p>
            <a:r>
              <a:rPr lang="en-JP"/>
              <a:t>Insert Chart</a:t>
            </a:r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F1FC7466-185A-8B44-ABF0-5410C1127700}"/>
              </a:ext>
            </a:extLst>
          </p:cNvPr>
          <p:cNvSpPr>
            <a:spLocks noGrp="1"/>
          </p:cNvSpPr>
          <p:nvPr>
            <p:ph type="chart" sz="quarter" idx="22" hasCustomPrompt="1"/>
          </p:nvPr>
        </p:nvSpPr>
        <p:spPr>
          <a:xfrm>
            <a:off x="4654627" y="3076287"/>
            <a:ext cx="4060748" cy="33403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/>
            </a:lvl1pPr>
          </a:lstStyle>
          <a:p>
            <a:r>
              <a:rPr lang="en-JP"/>
              <a:t>Insert Chart</a:t>
            </a:r>
          </a:p>
        </p:txBody>
      </p:sp>
      <p:sp>
        <p:nvSpPr>
          <p:cNvPr id="12" name="タイトル プレースホルダ 1">
            <a:extLst>
              <a:ext uri="{FF2B5EF4-FFF2-40B4-BE49-F238E27FC236}">
                <a16:creationId xmlns:a16="http://schemas.microsoft.com/office/drawing/2014/main" id="{906CE02B-33D8-B048-A73D-781A3402C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7455190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14" name="Footer Placeholder 8">
            <a:extLst>
              <a:ext uri="{FF2B5EF4-FFF2-40B4-BE49-F238E27FC236}">
                <a16:creationId xmlns:a16="http://schemas.microsoft.com/office/drawing/2014/main" id="{C2587943-8F51-3542-B7BE-5781719445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24538" y="6523002"/>
            <a:ext cx="30861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600" b="1" spc="75" baseline="0">
                <a:solidFill>
                  <a:schemeClr val="tx1"/>
                </a:solidFill>
              </a:defRPr>
            </a:lvl1pPr>
          </a:lstStyle>
          <a:p>
            <a:r>
              <a:rPr lang="en-JP"/>
              <a:t>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679FB0B-7616-F04F-9B4C-586869A82E96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2" name="スライド番号プレースホルダ 5">
            <a:extLst>
              <a:ext uri="{FF2B5EF4-FFF2-40B4-BE49-F238E27FC236}">
                <a16:creationId xmlns:a16="http://schemas.microsoft.com/office/drawing/2014/main" id="{8AFBB1AB-19B7-1347-93F8-D14235DD23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914108"/>
            <a:fld id="{E9B57936-92EF-4126-AE48-1D9D36D15E98}" type="slidenum">
              <a:rPr lang="ja-JP" altLang="en-US" smtClean="0"/>
              <a:pPr defTabSz="914108"/>
              <a:t>‹#›</a:t>
            </a:fld>
            <a:endParaRPr lang="ja-JP" altLang="en-US"/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1C168495-CA79-E440-A93B-B87B3674835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6F06E4B-A978-4E46-AE6C-67B54F7E34D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4559" y="1491374"/>
            <a:ext cx="8260817" cy="1464957"/>
          </a:xfrm>
        </p:spPr>
        <p:txBody>
          <a:bodyPr tIns="0" rIns="0" bIns="0" numCol="2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/>
            </a:lvl1pPr>
            <a:lvl2pPr marL="342801" indent="0">
              <a:buNone/>
              <a:defRPr sz="1350" b="1"/>
            </a:lvl2pPr>
            <a:lvl3pPr marL="685612" indent="0">
              <a:buNone/>
              <a:defRPr sz="1350" b="1"/>
            </a:lvl3pPr>
            <a:lvl4pPr marL="1028414" indent="0">
              <a:buNone/>
              <a:defRPr sz="1350" b="1"/>
            </a:lvl4pPr>
            <a:lvl5pPr marL="1371218" indent="0">
              <a:buNone/>
              <a:defRPr sz="135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3FF373A1-4E48-6C48-A075-153436CF76D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5440" y="1093767"/>
            <a:ext cx="8260817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50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Primary Title</a:t>
            </a:r>
          </a:p>
        </p:txBody>
      </p:sp>
      <p:pic>
        <p:nvPicPr>
          <p:cNvPr id="13" name="Picture 12" descr="Takeda">
            <a:extLst>
              <a:ext uri="{FF2B5EF4-FFF2-40B4-BE49-F238E27FC236}">
                <a16:creationId xmlns:a16="http://schemas.microsoft.com/office/drawing/2014/main" id="{1E65B36D-84F3-47BC-9479-637EC72A9C0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3373" y="-1615"/>
            <a:ext cx="1272174" cy="940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205945"/>
      </p:ext>
    </p:extLst>
  </p:cSld>
  <p:clrMapOvr>
    <a:masterClrMapping/>
  </p:clrMapOvr>
  <p:transition spd="slow">
    <p:push dir="u"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dvanced Chart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A6D4E593-FDCC-D14E-9C5E-5F309E415C26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454559" y="3076287"/>
            <a:ext cx="2595717" cy="33403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/>
            </a:lvl1pPr>
          </a:lstStyle>
          <a:p>
            <a:r>
              <a:rPr lang="en-JP"/>
              <a:t>Insert Chart</a:t>
            </a:r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8D9BD23C-1777-C442-B4B0-BADF450483EA}"/>
              </a:ext>
            </a:extLst>
          </p:cNvPr>
          <p:cNvSpPr>
            <a:spLocks noGrp="1"/>
          </p:cNvSpPr>
          <p:nvPr>
            <p:ph type="chart" sz="quarter" idx="22" hasCustomPrompt="1"/>
          </p:nvPr>
        </p:nvSpPr>
        <p:spPr>
          <a:xfrm>
            <a:off x="3228688" y="3076287"/>
            <a:ext cx="2685182" cy="33403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/>
            </a:lvl1pPr>
          </a:lstStyle>
          <a:p>
            <a:r>
              <a:rPr lang="en-JP"/>
              <a:t>Insert Chart</a:t>
            </a:r>
          </a:p>
        </p:txBody>
      </p:sp>
      <p:sp>
        <p:nvSpPr>
          <p:cNvPr id="11" name="Chart Placeholder 7">
            <a:extLst>
              <a:ext uri="{FF2B5EF4-FFF2-40B4-BE49-F238E27FC236}">
                <a16:creationId xmlns:a16="http://schemas.microsoft.com/office/drawing/2014/main" id="{2D7D413C-2FF1-204A-83C6-B7426603B7C2}"/>
              </a:ext>
            </a:extLst>
          </p:cNvPr>
          <p:cNvSpPr>
            <a:spLocks noGrp="1"/>
          </p:cNvSpPr>
          <p:nvPr>
            <p:ph type="chart" sz="quarter" idx="23" hasCustomPrompt="1"/>
          </p:nvPr>
        </p:nvSpPr>
        <p:spPr>
          <a:xfrm>
            <a:off x="6092281" y="3076287"/>
            <a:ext cx="2623094" cy="33403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/>
            </a:lvl1pPr>
          </a:lstStyle>
          <a:p>
            <a:r>
              <a:rPr lang="en-JP"/>
              <a:t>Insert Chart</a:t>
            </a:r>
          </a:p>
        </p:txBody>
      </p:sp>
      <p:sp>
        <p:nvSpPr>
          <p:cNvPr id="17" name="タイトル プレースホルダ 1">
            <a:extLst>
              <a:ext uri="{FF2B5EF4-FFF2-40B4-BE49-F238E27FC236}">
                <a16:creationId xmlns:a16="http://schemas.microsoft.com/office/drawing/2014/main" id="{2FFB1535-D35E-D242-B225-DDF1C53BB8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7455190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19" name="Footer Placeholder 8">
            <a:extLst>
              <a:ext uri="{FF2B5EF4-FFF2-40B4-BE49-F238E27FC236}">
                <a16:creationId xmlns:a16="http://schemas.microsoft.com/office/drawing/2014/main" id="{47DB5E3C-7053-3645-A234-760F5ED123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24538" y="6523002"/>
            <a:ext cx="30861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600" b="1" spc="75" baseline="0">
                <a:solidFill>
                  <a:schemeClr val="tx1"/>
                </a:solidFill>
              </a:defRPr>
            </a:lvl1pPr>
          </a:lstStyle>
          <a:p>
            <a:r>
              <a:rPr lang="en-JP"/>
              <a:t>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EFC8CB7-67E9-8A46-B53F-F34ACE18BE87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5" name="スライド番号プレースホルダ 5">
            <a:extLst>
              <a:ext uri="{FF2B5EF4-FFF2-40B4-BE49-F238E27FC236}">
                <a16:creationId xmlns:a16="http://schemas.microsoft.com/office/drawing/2014/main" id="{5EB1023E-4E73-AD49-83B0-D7B458250C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914108"/>
            <a:fld id="{E9B57936-92EF-4126-AE48-1D9D36D15E98}" type="slidenum">
              <a:rPr lang="ja-JP" altLang="en-US" smtClean="0"/>
              <a:pPr defTabSz="914108"/>
              <a:t>‹#›</a:t>
            </a:fld>
            <a:endParaRPr lang="ja-JP" altLang="en-US"/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4942DB0C-137A-4E4C-B926-77CEECC512A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D1171B1-AEC6-164D-8FE0-E0B9353A55B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4559" y="1491374"/>
            <a:ext cx="8456078" cy="1464957"/>
          </a:xfrm>
        </p:spPr>
        <p:txBody>
          <a:bodyPr tIns="0" rIns="0" bIns="0" numCol="2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/>
            </a:lvl1pPr>
            <a:lvl2pPr marL="342801" indent="0">
              <a:buNone/>
              <a:defRPr sz="1350" b="1"/>
            </a:lvl2pPr>
            <a:lvl3pPr marL="685612" indent="0">
              <a:buNone/>
              <a:defRPr sz="1350" b="1"/>
            </a:lvl3pPr>
            <a:lvl4pPr marL="1028414" indent="0">
              <a:buNone/>
              <a:defRPr sz="1350" b="1"/>
            </a:lvl4pPr>
            <a:lvl5pPr marL="1371218" indent="0">
              <a:buNone/>
              <a:defRPr sz="1350" b="1"/>
            </a:lvl5pPr>
          </a:lstStyle>
          <a:p>
            <a:pPr lvl="0"/>
            <a:r>
              <a:rPr lang="en-US"/>
              <a:t>This is your Primary Text.</a:t>
            </a:r>
            <a:endParaRPr lang="en-JP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6C4AA1F-8B09-5544-9C70-388A6E2940C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4558" y="1093767"/>
            <a:ext cx="8456078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500" b="1">
                <a:solidFill>
                  <a:schemeClr val="accent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your Primary Title</a:t>
            </a:r>
          </a:p>
        </p:txBody>
      </p:sp>
      <p:pic>
        <p:nvPicPr>
          <p:cNvPr id="14" name="Picture 13" descr="Takeda">
            <a:extLst>
              <a:ext uri="{FF2B5EF4-FFF2-40B4-BE49-F238E27FC236}">
                <a16:creationId xmlns:a16="http://schemas.microsoft.com/office/drawing/2014/main" id="{2DA7E714-D2DD-4063-AA2B-94194C83A95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3373" y="-1615"/>
            <a:ext cx="1272174" cy="940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5595549"/>
      </p:ext>
    </p:extLst>
  </p:cSld>
  <p:clrMapOvr>
    <a:masterClrMapping/>
  </p:clrMapOvr>
  <p:transition spd="slow">
    <p:push dir="u"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A5DA52-BBAF-EA48-AEC6-EA08F428CF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5029" y="371959"/>
            <a:ext cx="8693944" cy="604471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2250"/>
            </a:lvl1pPr>
          </a:lstStyle>
          <a:p>
            <a:pPr lvl="0"/>
            <a:r>
              <a:rPr lang="en-US"/>
              <a:t>Blank slide</a:t>
            </a:r>
            <a:endParaRPr lang="en-JP"/>
          </a:p>
        </p:txBody>
      </p:sp>
    </p:spTree>
    <p:extLst>
      <p:ext uri="{BB962C8B-B14F-4D97-AF65-F5344CB8AC3E}">
        <p14:creationId xmlns:p14="http://schemas.microsoft.com/office/powerpoint/2010/main" val="1720729072"/>
      </p:ext>
    </p:extLst>
  </p:cSld>
  <p:clrMapOvr>
    <a:masterClrMapping/>
  </p:clrMapOvr>
  <p:transition spd="slow">
    <p:push dir="u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D&amp;T 2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3363" y="1102386"/>
            <a:ext cx="8677275" cy="4678655"/>
          </a:xfrm>
          <a:prstGeom prst="rect">
            <a:avLst/>
          </a:prstGeom>
        </p:spPr>
        <p:txBody>
          <a:bodyPr tIns="0" rIns="0" bIns="0" numCol="2" spcCol="54000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a two-column layout. Click to add content. </a:t>
            </a:r>
          </a:p>
        </p:txBody>
      </p:sp>
      <p:sp>
        <p:nvSpPr>
          <p:cNvPr id="22" name="タイトル プレースホルダ 1">
            <a:extLst>
              <a:ext uri="{FF2B5EF4-FFF2-40B4-BE49-F238E27FC236}">
                <a16:creationId xmlns:a16="http://schemas.microsoft.com/office/drawing/2014/main" id="{86D2E5B8-9E2B-DB46-A55A-5F26569C4F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7455190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Two-column layout. Click to add title</a:t>
            </a:r>
            <a:endParaRPr kumimoji="1" lang="ja-JP" alt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49634AC-7DDA-D44D-88DB-5850289DD643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0A6720AD-4FA4-A146-AEEB-A4E558BAA3E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C6F74168-F903-3A4B-7DE3-DE6AC0C261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24926" y="277419"/>
            <a:ext cx="844617" cy="394888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A606F171-2C9F-A4E5-BAF2-B76BAEADB79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8093234" y="6293801"/>
            <a:ext cx="825739" cy="372288"/>
          </a:xfrm>
          <a:prstGeom prst="rect">
            <a:avLst/>
          </a:prstGeom>
        </p:spPr>
      </p:pic>
      <p:sp>
        <p:nvSpPr>
          <p:cNvPr id="20" name="スライド番号プレースホルダ 5">
            <a:extLst>
              <a:ext uri="{FF2B5EF4-FFF2-40B4-BE49-F238E27FC236}">
                <a16:creationId xmlns:a16="http://schemas.microsoft.com/office/drawing/2014/main" id="{E22A984C-7436-8C4C-83C8-F2AD675920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4057582"/>
      </p:ext>
    </p:extLst>
  </p:cSld>
  <p:clrMapOvr>
    <a:masterClrMapping/>
  </p:clrMapOvr>
  <p:transition spd="slow">
    <p:push dir="u"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D&amp;T Title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>
            <a:extLst>
              <a:ext uri="{FF2B5EF4-FFF2-40B4-BE49-F238E27FC236}">
                <a16:creationId xmlns:a16="http://schemas.microsoft.com/office/drawing/2014/main" id="{82B9CECE-7D8F-8C4A-AFC6-A963B1F05594}"/>
              </a:ext>
            </a:extLst>
          </p:cNvPr>
          <p:cNvSpPr/>
          <p:nvPr/>
        </p:nvSpPr>
        <p:spPr>
          <a:xfrm>
            <a:off x="0" y="61264"/>
            <a:ext cx="191386" cy="8490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350">
              <a:solidFill>
                <a:schemeClr val="accent1"/>
              </a:solidFill>
            </a:endParaRP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1E79114-5B74-9547-8292-DAB8965D43F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1754" y="506"/>
            <a:ext cx="8594519" cy="3428494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64472"/>
              <a:gd name="connsiteY0" fmla="*/ 0 h 6630428"/>
              <a:gd name="connsiteX1" fmla="*/ 11864472 w 11864472"/>
              <a:gd name="connsiteY1" fmla="*/ 188353 h 6630428"/>
              <a:gd name="connsiteX2" fmla="*/ 11855613 w 11864472"/>
              <a:gd name="connsiteY2" fmla="*/ 6628774 h 6630428"/>
              <a:gd name="connsiteX3" fmla="*/ 579722 w 11864472"/>
              <a:gd name="connsiteY3" fmla="*/ 6630428 h 6630428"/>
              <a:gd name="connsiteX4" fmla="*/ 0 w 11864472"/>
              <a:gd name="connsiteY4" fmla="*/ 6050706 h 6630428"/>
              <a:gd name="connsiteX5" fmla="*/ 0 w 11864472"/>
              <a:gd name="connsiteY5" fmla="*/ 0 h 6630428"/>
              <a:gd name="connsiteX0" fmla="*/ 0 w 11864472"/>
              <a:gd name="connsiteY0" fmla="*/ 13527 h 6643955"/>
              <a:gd name="connsiteX1" fmla="*/ 11864472 w 11864472"/>
              <a:gd name="connsiteY1" fmla="*/ 0 h 6643955"/>
              <a:gd name="connsiteX2" fmla="*/ 11855613 w 11864472"/>
              <a:gd name="connsiteY2" fmla="*/ 6642301 h 6643955"/>
              <a:gd name="connsiteX3" fmla="*/ 579722 w 11864472"/>
              <a:gd name="connsiteY3" fmla="*/ 6643955 h 6643955"/>
              <a:gd name="connsiteX4" fmla="*/ 0 w 11864472"/>
              <a:gd name="connsiteY4" fmla="*/ 6064233 h 6643955"/>
              <a:gd name="connsiteX5" fmla="*/ 0 w 11864472"/>
              <a:gd name="connsiteY5" fmla="*/ 13527 h 6643955"/>
              <a:gd name="connsiteX0" fmla="*/ 0 w 11864472"/>
              <a:gd name="connsiteY0" fmla="*/ 1319813 h 6643955"/>
              <a:gd name="connsiteX1" fmla="*/ 11864472 w 11864472"/>
              <a:gd name="connsiteY1" fmla="*/ 0 h 6643955"/>
              <a:gd name="connsiteX2" fmla="*/ 11855613 w 11864472"/>
              <a:gd name="connsiteY2" fmla="*/ 6642301 h 6643955"/>
              <a:gd name="connsiteX3" fmla="*/ 579722 w 11864472"/>
              <a:gd name="connsiteY3" fmla="*/ 6643955 h 6643955"/>
              <a:gd name="connsiteX4" fmla="*/ 0 w 11864472"/>
              <a:gd name="connsiteY4" fmla="*/ 6064233 h 6643955"/>
              <a:gd name="connsiteX5" fmla="*/ 0 w 11864472"/>
              <a:gd name="connsiteY5" fmla="*/ 1319813 h 6643955"/>
              <a:gd name="connsiteX0" fmla="*/ 0 w 11864472"/>
              <a:gd name="connsiteY0" fmla="*/ 13527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13527 h 5337669"/>
              <a:gd name="connsiteX0" fmla="*/ 0 w 11864472"/>
              <a:gd name="connsiteY0" fmla="*/ 1652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1652 h 5337669"/>
              <a:gd name="connsiteX0" fmla="*/ 0 w 11864472"/>
              <a:gd name="connsiteY0" fmla="*/ 2201927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2201927 h 5337669"/>
              <a:gd name="connsiteX0" fmla="*/ 0 w 11864472"/>
              <a:gd name="connsiteY0" fmla="*/ 1652 h 3137394"/>
              <a:gd name="connsiteX1" fmla="*/ 11864472 w 11864472"/>
              <a:gd name="connsiteY1" fmla="*/ 0 h 3137394"/>
              <a:gd name="connsiteX2" fmla="*/ 11855613 w 11864472"/>
              <a:gd name="connsiteY2" fmla="*/ 3135740 h 3137394"/>
              <a:gd name="connsiteX3" fmla="*/ 579722 w 11864472"/>
              <a:gd name="connsiteY3" fmla="*/ 3137394 h 3137394"/>
              <a:gd name="connsiteX4" fmla="*/ 0 w 11864472"/>
              <a:gd name="connsiteY4" fmla="*/ 2557672 h 3137394"/>
              <a:gd name="connsiteX5" fmla="*/ 0 w 11864472"/>
              <a:gd name="connsiteY5" fmla="*/ 1652 h 3137394"/>
              <a:gd name="connsiteX0" fmla="*/ 0 w 11864472"/>
              <a:gd name="connsiteY0" fmla="*/ 0 h 3420555"/>
              <a:gd name="connsiteX1" fmla="*/ 11864472 w 11864472"/>
              <a:gd name="connsiteY1" fmla="*/ 283161 h 3420555"/>
              <a:gd name="connsiteX2" fmla="*/ 11855613 w 11864472"/>
              <a:gd name="connsiteY2" fmla="*/ 3418901 h 3420555"/>
              <a:gd name="connsiteX3" fmla="*/ 579722 w 11864472"/>
              <a:gd name="connsiteY3" fmla="*/ 3420555 h 3420555"/>
              <a:gd name="connsiteX4" fmla="*/ 0 w 11864472"/>
              <a:gd name="connsiteY4" fmla="*/ 2840833 h 3420555"/>
              <a:gd name="connsiteX5" fmla="*/ 0 w 11864472"/>
              <a:gd name="connsiteY5" fmla="*/ 0 h 3420555"/>
              <a:gd name="connsiteX0" fmla="*/ 0 w 11864472"/>
              <a:gd name="connsiteY0" fmla="*/ 1652 h 3422207"/>
              <a:gd name="connsiteX1" fmla="*/ 11864472 w 11864472"/>
              <a:gd name="connsiteY1" fmla="*/ 0 h 3422207"/>
              <a:gd name="connsiteX2" fmla="*/ 11855613 w 11864472"/>
              <a:gd name="connsiteY2" fmla="*/ 3420553 h 3422207"/>
              <a:gd name="connsiteX3" fmla="*/ 579722 w 11864472"/>
              <a:gd name="connsiteY3" fmla="*/ 3422207 h 3422207"/>
              <a:gd name="connsiteX4" fmla="*/ 0 w 11864472"/>
              <a:gd name="connsiteY4" fmla="*/ 2842485 h 3422207"/>
              <a:gd name="connsiteX5" fmla="*/ 0 w 11864472"/>
              <a:gd name="connsiteY5" fmla="*/ 1652 h 3422207"/>
              <a:gd name="connsiteX0" fmla="*/ 0 w 11855613"/>
              <a:gd name="connsiteY0" fmla="*/ 0 h 3420555"/>
              <a:gd name="connsiteX1" fmla="*/ 11834492 w 11855613"/>
              <a:gd name="connsiteY1" fmla="*/ 58309 h 3420555"/>
              <a:gd name="connsiteX2" fmla="*/ 11855613 w 11855613"/>
              <a:gd name="connsiteY2" fmla="*/ 3418901 h 3420555"/>
              <a:gd name="connsiteX3" fmla="*/ 579722 w 11855613"/>
              <a:gd name="connsiteY3" fmla="*/ 3420555 h 3420555"/>
              <a:gd name="connsiteX4" fmla="*/ 0 w 11855613"/>
              <a:gd name="connsiteY4" fmla="*/ 2840833 h 3420555"/>
              <a:gd name="connsiteX5" fmla="*/ 0 w 11855613"/>
              <a:gd name="connsiteY5" fmla="*/ 0 h 3420555"/>
              <a:gd name="connsiteX0" fmla="*/ 0 w 11855613"/>
              <a:gd name="connsiteY0" fmla="*/ 1652 h 3362246"/>
              <a:gd name="connsiteX1" fmla="*/ 11834492 w 11855613"/>
              <a:gd name="connsiteY1" fmla="*/ 0 h 3362246"/>
              <a:gd name="connsiteX2" fmla="*/ 11855613 w 11855613"/>
              <a:gd name="connsiteY2" fmla="*/ 3360592 h 3362246"/>
              <a:gd name="connsiteX3" fmla="*/ 579722 w 11855613"/>
              <a:gd name="connsiteY3" fmla="*/ 3362246 h 3362246"/>
              <a:gd name="connsiteX4" fmla="*/ 0 w 11855613"/>
              <a:gd name="connsiteY4" fmla="*/ 2782524 h 3362246"/>
              <a:gd name="connsiteX5" fmla="*/ 0 w 11855613"/>
              <a:gd name="connsiteY5" fmla="*/ 1652 h 3362246"/>
              <a:gd name="connsiteX0" fmla="*/ 0 w 11864473"/>
              <a:gd name="connsiteY0" fmla="*/ 0 h 3360594"/>
              <a:gd name="connsiteX1" fmla="*/ 11864473 w 11864473"/>
              <a:gd name="connsiteY1" fmla="*/ 13338 h 3360594"/>
              <a:gd name="connsiteX2" fmla="*/ 11855613 w 11864473"/>
              <a:gd name="connsiteY2" fmla="*/ 3358940 h 3360594"/>
              <a:gd name="connsiteX3" fmla="*/ 579722 w 11864473"/>
              <a:gd name="connsiteY3" fmla="*/ 3360594 h 3360594"/>
              <a:gd name="connsiteX4" fmla="*/ 0 w 11864473"/>
              <a:gd name="connsiteY4" fmla="*/ 2780872 h 3360594"/>
              <a:gd name="connsiteX5" fmla="*/ 0 w 11864473"/>
              <a:gd name="connsiteY5" fmla="*/ 0 h 3360594"/>
              <a:gd name="connsiteX0" fmla="*/ 0 w 11864473"/>
              <a:gd name="connsiteY0" fmla="*/ 1652 h 3362246"/>
              <a:gd name="connsiteX1" fmla="*/ 11864473 w 11864473"/>
              <a:gd name="connsiteY1" fmla="*/ 0 h 3362246"/>
              <a:gd name="connsiteX2" fmla="*/ 11855613 w 11864473"/>
              <a:gd name="connsiteY2" fmla="*/ 3360592 h 3362246"/>
              <a:gd name="connsiteX3" fmla="*/ 579722 w 11864473"/>
              <a:gd name="connsiteY3" fmla="*/ 3362246 h 3362246"/>
              <a:gd name="connsiteX4" fmla="*/ 0 w 11864473"/>
              <a:gd name="connsiteY4" fmla="*/ 2782524 h 3362246"/>
              <a:gd name="connsiteX5" fmla="*/ 0 w 11864473"/>
              <a:gd name="connsiteY5" fmla="*/ 1652 h 3362246"/>
              <a:gd name="connsiteX0" fmla="*/ 0 w 11855629"/>
              <a:gd name="connsiteY0" fmla="*/ 1652 h 3362246"/>
              <a:gd name="connsiteX1" fmla="*/ 11459359 w 11855629"/>
              <a:gd name="connsiteY1" fmla="*/ 0 h 3362246"/>
              <a:gd name="connsiteX2" fmla="*/ 11855613 w 11855629"/>
              <a:gd name="connsiteY2" fmla="*/ 3360592 h 3362246"/>
              <a:gd name="connsiteX3" fmla="*/ 579722 w 11855629"/>
              <a:gd name="connsiteY3" fmla="*/ 3362246 h 3362246"/>
              <a:gd name="connsiteX4" fmla="*/ 0 w 11855629"/>
              <a:gd name="connsiteY4" fmla="*/ 2782524 h 3362246"/>
              <a:gd name="connsiteX5" fmla="*/ 0 w 11855629"/>
              <a:gd name="connsiteY5" fmla="*/ 1652 h 3362246"/>
              <a:gd name="connsiteX0" fmla="*/ 0 w 11459359"/>
              <a:gd name="connsiteY0" fmla="*/ 1652 h 3362246"/>
              <a:gd name="connsiteX1" fmla="*/ 11459359 w 11459359"/>
              <a:gd name="connsiteY1" fmla="*/ 0 h 3362246"/>
              <a:gd name="connsiteX2" fmla="*/ 11438924 w 11459359"/>
              <a:gd name="connsiteY2" fmla="*/ 3360592 h 3362246"/>
              <a:gd name="connsiteX3" fmla="*/ 579722 w 11459359"/>
              <a:gd name="connsiteY3" fmla="*/ 3362246 h 3362246"/>
              <a:gd name="connsiteX4" fmla="*/ 0 w 11459359"/>
              <a:gd name="connsiteY4" fmla="*/ 2782524 h 3362246"/>
              <a:gd name="connsiteX5" fmla="*/ 0 w 11459359"/>
              <a:gd name="connsiteY5" fmla="*/ 1652 h 3362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59359" h="3362246">
                <a:moveTo>
                  <a:pt x="0" y="1652"/>
                </a:moveTo>
                <a:lnTo>
                  <a:pt x="11459359" y="0"/>
                </a:lnTo>
                <a:cubicBezTo>
                  <a:pt x="11456406" y="1115201"/>
                  <a:pt x="11441877" y="2245391"/>
                  <a:pt x="11438924" y="3360592"/>
                </a:cubicBezTo>
                <a:lnTo>
                  <a:pt x="579722" y="3362246"/>
                </a:lnTo>
                <a:cubicBezTo>
                  <a:pt x="259550" y="3362246"/>
                  <a:pt x="0" y="3102696"/>
                  <a:pt x="0" y="2782524"/>
                </a:cubicBezTo>
                <a:lnTo>
                  <a:pt x="0" y="1652"/>
                </a:lnTo>
                <a:close/>
              </a:path>
            </a:pathLst>
          </a:custGeom>
          <a:noFill/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F5E8E0A-41D4-8346-9248-0B9AAC7123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6047" y="3956817"/>
            <a:ext cx="5774753" cy="1015681"/>
          </a:xfrm>
          <a:prstGeom prst="rect">
            <a:avLst/>
          </a:prstGeom>
        </p:spPr>
        <p:txBody>
          <a:bodyPr wrap="square" lIns="0" tIns="0" rIns="0" bIns="0" anchor="b" anchorCtr="0">
            <a:normAutofit/>
          </a:bodyPr>
          <a:lstStyle>
            <a:lvl1pPr>
              <a:lnSpc>
                <a:spcPts val="2850"/>
              </a:lnSpc>
              <a:defRPr sz="2700" b="1" i="0" baseline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5A63B8E-5554-A04E-B4C5-97ECEE58B6CC}"/>
              </a:ext>
            </a:extLst>
          </p:cNvPr>
          <p:cNvSpPr/>
          <p:nvPr/>
        </p:nvSpPr>
        <p:spPr>
          <a:xfrm>
            <a:off x="561754" y="3764031"/>
            <a:ext cx="72900" cy="27071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350">
              <a:solidFill>
                <a:srgbClr val="FFFFFF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C2637423-F180-3943-B758-C8CCFA816E0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78941" y="6357944"/>
            <a:ext cx="1468934" cy="117462"/>
          </a:xfrm>
          <a:prstGeom prst="rect">
            <a:avLst/>
          </a:prstGeom>
        </p:spPr>
      </p:pic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F7327E43-4F43-914D-BE65-DB0ADB5A5E1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96046" y="5256032"/>
            <a:ext cx="5774753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itle of Position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4A23AA60-6137-8841-B2ED-51B2F2E5C1B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6046" y="5515046"/>
            <a:ext cx="5774753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Department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B4FEAB2-22C6-3446-B4D2-5B610A729BC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6046" y="5769533"/>
            <a:ext cx="5774753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4085F378-E668-A648-B7B1-8C76C309ED6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96046" y="4997511"/>
            <a:ext cx="5774753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801" indent="0">
              <a:buNone/>
              <a:defRPr sz="1050">
                <a:solidFill>
                  <a:schemeClr val="tx1"/>
                </a:solidFill>
              </a:defRPr>
            </a:lvl2pPr>
            <a:lvl3pPr marL="685612" indent="0">
              <a:buNone/>
              <a:defRPr sz="1050">
                <a:solidFill>
                  <a:schemeClr val="tx1"/>
                </a:solidFill>
              </a:defRPr>
            </a:lvl3pPr>
            <a:lvl4pPr marL="1028414" indent="0">
              <a:buNone/>
              <a:defRPr sz="1050">
                <a:solidFill>
                  <a:schemeClr val="tx1"/>
                </a:solidFill>
              </a:defRPr>
            </a:lvl4pPr>
            <a:lvl5pPr marL="1371218" indent="0">
              <a:buNone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C1E31EF6-BED5-C14F-94AD-4E5C55B8551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96046" y="6027353"/>
            <a:ext cx="5774753" cy="234001"/>
          </a:xfrm>
        </p:spPr>
        <p:txBody>
          <a:bodyPr tIns="0" rIns="0" bIns="0" anchor="ctr" anchorCtr="0">
            <a:noAutofit/>
          </a:bodyPr>
          <a:lstStyle>
            <a:lvl1pPr marL="0" marR="0" indent="0" algn="l" defTabSz="68561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 sz="600"/>
            </a:lvl1pPr>
            <a:lvl2pPr>
              <a:defRPr sz="6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marL="0" marR="0" lvl="0" indent="0" algn="l" defTabSz="68561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rivate and confidential. For internal use only.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997333C-F4C2-90F7-BE72-0C6BADEE9F3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20000" y="3723142"/>
            <a:ext cx="1127760" cy="527267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431C451D-32AC-7485-E136-F5612053EFB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912980" y="3762318"/>
            <a:ext cx="839804" cy="488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939779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orient="horz" pos="4065">
          <p15:clr>
            <a:srgbClr val="FBAE40"/>
          </p15:clr>
        </p15:guide>
        <p15:guide id="2" orient="horz" pos="2364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D&amp;T 1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3363" y="1102386"/>
            <a:ext cx="8677275" cy="4963135"/>
          </a:xfrm>
          <a:prstGeom prst="rect">
            <a:avLst/>
          </a:prstGeom>
        </p:spPr>
        <p:txBody>
          <a:bodyPr tIns="0" rIns="0" bIns="0" numCol="1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a one-column layout. Click to add content</a:t>
            </a:r>
          </a:p>
        </p:txBody>
      </p:sp>
      <p:sp>
        <p:nvSpPr>
          <p:cNvPr id="22" name="タイトル プレースホルダ 1">
            <a:extLst>
              <a:ext uri="{FF2B5EF4-FFF2-40B4-BE49-F238E27FC236}">
                <a16:creationId xmlns:a16="http://schemas.microsoft.com/office/drawing/2014/main" id="{86D2E5B8-9E2B-DB46-A55A-5F26569C4F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7455190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Click to add title</a:t>
            </a:r>
            <a:endParaRPr kumimoji="1" lang="ja-JP" altLang="en-US"/>
          </a:p>
        </p:txBody>
      </p:sp>
      <p:sp>
        <p:nvSpPr>
          <p:cNvPr id="20" name="スライド番号プレースホルダ 5">
            <a:extLst>
              <a:ext uri="{FF2B5EF4-FFF2-40B4-BE49-F238E27FC236}">
                <a16:creationId xmlns:a16="http://schemas.microsoft.com/office/drawing/2014/main" id="{51A4825E-63A1-564F-BC3A-FBC167ECE5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914108"/>
            <a:fld id="{E9B57936-92EF-4126-AE48-1D9D36D15E98}" type="slidenum">
              <a:rPr lang="ja-JP" altLang="en-US" smtClean="0"/>
              <a:pPr defTabSz="914108"/>
              <a:t>‹#›</a:t>
            </a:fld>
            <a:endParaRPr lang="ja-JP" alt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CF9CDB0-5730-E246-B31F-F5963CF8EFDC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44EB3013-FCB4-1B4E-A9F2-FD57CF727CC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DEBA354-D33F-280A-864C-953E643E58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24926" y="277419"/>
            <a:ext cx="844617" cy="394888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CD9EF559-8D7B-75BC-E677-F95BD332CCC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8093234" y="6293801"/>
            <a:ext cx="825739" cy="37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857445"/>
      </p:ext>
    </p:extLst>
  </p:cSld>
  <p:clrMapOvr>
    <a:masterClrMapping/>
  </p:clrMapOvr>
  <p:transition spd="slow">
    <p:push dir="u"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D&amp;T 2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3363" y="1102386"/>
            <a:ext cx="8677275" cy="4678655"/>
          </a:xfrm>
          <a:prstGeom prst="rect">
            <a:avLst/>
          </a:prstGeom>
        </p:spPr>
        <p:txBody>
          <a:bodyPr tIns="0" rIns="0" bIns="0" numCol="2" spcCol="54000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This is a two-column layout. Click to add content. </a:t>
            </a:r>
          </a:p>
        </p:txBody>
      </p:sp>
      <p:sp>
        <p:nvSpPr>
          <p:cNvPr id="22" name="タイトル プレースホルダ 1">
            <a:extLst>
              <a:ext uri="{FF2B5EF4-FFF2-40B4-BE49-F238E27FC236}">
                <a16:creationId xmlns:a16="http://schemas.microsoft.com/office/drawing/2014/main" id="{86D2E5B8-9E2B-DB46-A55A-5F26569C4F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559" y="161605"/>
            <a:ext cx="7455190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Two-column layout. Click to add title</a:t>
            </a:r>
            <a:endParaRPr kumimoji="1" lang="ja-JP" alt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49634AC-7DDA-D44D-88DB-5850289DD643}"/>
              </a:ext>
            </a:extLst>
          </p:cNvPr>
          <p:cNvSpPr/>
          <p:nvPr/>
        </p:nvSpPr>
        <p:spPr>
          <a:xfrm>
            <a:off x="231029" y="161606"/>
            <a:ext cx="405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350">
              <a:solidFill>
                <a:schemeClr val="accent1"/>
              </a:solidFill>
            </a:endParaRPr>
          </a:p>
        </p:txBody>
      </p:sp>
      <p:sp>
        <p:nvSpPr>
          <p:cNvPr id="20" name="スライド番号プレースホルダ 5">
            <a:extLst>
              <a:ext uri="{FF2B5EF4-FFF2-40B4-BE49-F238E27FC236}">
                <a16:creationId xmlns:a16="http://schemas.microsoft.com/office/drawing/2014/main" id="{E22A984C-7436-8C4C-83C8-F2AD675920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523002"/>
            <a:ext cx="221196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914108"/>
            <a:fld id="{E9B57936-92EF-4126-AE48-1D9D36D15E98}" type="slidenum">
              <a:rPr lang="ja-JP" altLang="en-US" smtClean="0"/>
              <a:pPr defTabSz="914108"/>
              <a:t>‹#›</a:t>
            </a:fld>
            <a:endParaRPr lang="ja-JP" altLang="en-US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0A6720AD-4FA4-A146-AEEB-A4E558BAA3E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4559" y="6523002"/>
            <a:ext cx="5226261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342801" indent="0">
              <a:lnSpc>
                <a:spcPts val="1350"/>
              </a:lnSpc>
              <a:spcBef>
                <a:spcPts val="0"/>
              </a:spcBef>
              <a:buNone/>
              <a:defRPr sz="1050"/>
            </a:lvl2pPr>
            <a:lvl3pPr marL="685612" indent="0">
              <a:lnSpc>
                <a:spcPts val="1350"/>
              </a:lnSpc>
              <a:spcBef>
                <a:spcPts val="0"/>
              </a:spcBef>
              <a:buNone/>
              <a:defRPr sz="1050"/>
            </a:lvl3pPr>
            <a:lvl4pPr marL="1028414" indent="0">
              <a:lnSpc>
                <a:spcPts val="1350"/>
              </a:lnSpc>
              <a:spcBef>
                <a:spcPts val="0"/>
              </a:spcBef>
              <a:buNone/>
              <a:defRPr sz="1050"/>
            </a:lvl4pPr>
            <a:lvl5pPr marL="1371218" indent="0">
              <a:lnSpc>
                <a:spcPts val="1350"/>
              </a:lnSpc>
              <a:spcBef>
                <a:spcPts val="0"/>
              </a:spcBef>
              <a:buNone/>
              <a:defRPr sz="1050"/>
            </a:lvl5pPr>
          </a:lstStyle>
          <a:p>
            <a:pPr lvl="0"/>
            <a:r>
              <a:rPr lang="en-US"/>
              <a:t>Private and confidential. For internal use only.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C6F74168-F903-3A4B-7DE3-DE6AC0C261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24926" y="277419"/>
            <a:ext cx="844617" cy="394888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2659260E-EF9B-5A62-7442-03841D914E6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8093234" y="6024880"/>
            <a:ext cx="825739" cy="479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8009432"/>
      </p:ext>
    </p:extLst>
  </p:cSld>
  <p:clrMapOvr>
    <a:masterClrMapping/>
  </p:clrMapOvr>
  <p:transition spd="slow">
    <p:push dir="u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28" Type="http://schemas.openxmlformats.org/officeDocument/2006/relationships/oleObject" Target="../embeddings/oleObject2.bin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31" Type="http://schemas.openxmlformats.org/officeDocument/2006/relationships/image" Target="../media/image22.svg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tags" Target="../tags/tag4.xml"/><Relationship Id="rId30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tags" Target="../tags/tag6.xml"/><Relationship Id="rId3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69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tags" Target="../tags/tag5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theme" Target="../theme/theme3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slideLayout" Target="../slideLayouts/slideLayout84.xml"/><Relationship Id="rId18" Type="http://schemas.openxmlformats.org/officeDocument/2006/relationships/slideLayout" Target="../slideLayouts/slideLayout89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74.xml"/><Relationship Id="rId21" Type="http://schemas.openxmlformats.org/officeDocument/2006/relationships/slideLayout" Target="../slideLayouts/slideLayout92.xml"/><Relationship Id="rId7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3.xml"/><Relationship Id="rId17" Type="http://schemas.openxmlformats.org/officeDocument/2006/relationships/slideLayout" Target="../slideLayouts/slideLayout88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73.xml"/><Relationship Id="rId16" Type="http://schemas.openxmlformats.org/officeDocument/2006/relationships/slideLayout" Target="../slideLayouts/slideLayout87.xml"/><Relationship Id="rId20" Type="http://schemas.openxmlformats.org/officeDocument/2006/relationships/slideLayout" Target="../slideLayouts/slideLayout91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24" Type="http://schemas.openxmlformats.org/officeDocument/2006/relationships/tags" Target="../tags/tag8.xml"/><Relationship Id="rId5" Type="http://schemas.openxmlformats.org/officeDocument/2006/relationships/slideLayout" Target="../slideLayouts/slideLayout76.xml"/><Relationship Id="rId15" Type="http://schemas.openxmlformats.org/officeDocument/2006/relationships/slideLayout" Target="../slideLayouts/slideLayout86.xml"/><Relationship Id="rId23" Type="http://schemas.openxmlformats.org/officeDocument/2006/relationships/tags" Target="../tags/tag7.xml"/><Relationship Id="rId10" Type="http://schemas.openxmlformats.org/officeDocument/2006/relationships/slideLayout" Target="../slideLayouts/slideLayout81.xml"/><Relationship Id="rId19" Type="http://schemas.openxmlformats.org/officeDocument/2006/relationships/slideLayout" Target="../slideLayouts/slideLayout90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slideLayout" Target="../slideLayouts/slideLayout85.xml"/><Relationship Id="rId22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283D300-2124-42DF-B73B-3D3D4C546EC6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85269087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95" imgH="394" progId="TCLayout.ActiveDocument.1">
                  <p:embed/>
                </p:oleObj>
              </mc:Choice>
              <mc:Fallback>
                <p:oleObj name="think-cell Slide" r:id="rId28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283D300-2124-42DF-B73B-3D3D4C546E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B895B28-7064-4AD0-A15D-88F99BCA9BAD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kumimoji="1" lang="en-US" altLang="ja-JP" sz="2100" b="0" i="0" baseline="0">
              <a:latin typeface="Calibri" panose="020F0502020204030204" pitchFamily="34" charset="0"/>
              <a:ea typeface="メイリオ" panose="020B0604030504040204" pitchFamily="50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233363" y="1233487"/>
            <a:ext cx="8677275" cy="5183187"/>
          </a:xfrm>
          <a:prstGeom prst="rect">
            <a:avLst/>
          </a:prstGeom>
        </p:spPr>
        <p:txBody>
          <a:bodyPr vert="horz" lIns="0" tIns="45710" rIns="91420" bIns="45710" rtlCol="0">
            <a:normAutofit/>
          </a:bodyPr>
          <a:lstStyle/>
          <a:p>
            <a:pPr lvl="0"/>
            <a:r>
              <a:rPr kumimoji="1" lang="en-US" altLang="ja-JP"/>
              <a:t>Master text</a:t>
            </a:r>
            <a:endParaRPr kumimoji="1" lang="ja-JP" altLang="en-US"/>
          </a:p>
        </p:txBody>
      </p:sp>
      <p:sp>
        <p:nvSpPr>
          <p:cNvPr id="9" name="タイトル プレースホルダ 1">
            <a:extLst>
              <a:ext uri="{FF2B5EF4-FFF2-40B4-BE49-F238E27FC236}">
                <a16:creationId xmlns:a16="http://schemas.microsoft.com/office/drawing/2014/main" id="{D7981A12-E00B-604C-B863-7CBF31AA64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558" y="161605"/>
            <a:ext cx="742131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Master title</a:t>
            </a:r>
            <a:endParaRPr kumimoji="1" lang="ja-JP" altLang="en-US"/>
          </a:p>
        </p:txBody>
      </p:sp>
      <p:sp>
        <p:nvSpPr>
          <p:cNvPr id="13" name="スライド番号プレースホルダ 5">
            <a:extLst>
              <a:ext uri="{FF2B5EF4-FFF2-40B4-BE49-F238E27FC236}">
                <a16:creationId xmlns:a16="http://schemas.microsoft.com/office/drawing/2014/main" id="{C7AA5A17-3F2F-B94B-9342-A137057B89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489701"/>
            <a:ext cx="442392" cy="229432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77523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</p:sldLayoutIdLst>
  <p:transition spd="slow">
    <p:push dir="u"/>
  </p:transition>
  <p:txStyles>
    <p:titleStyle>
      <a:lvl1pPr algn="l" defTabSz="685613" rtl="0" eaLnBrk="1" latinLnBrk="0" hangingPunct="1">
        <a:lnSpc>
          <a:spcPts val="2100"/>
        </a:lnSpc>
        <a:spcBef>
          <a:spcPct val="0"/>
        </a:spcBef>
        <a:buNone/>
        <a:defRPr kumimoji="1" sz="2100" b="1" i="0" kern="1200" baseline="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1pPr>
    </p:titleStyle>
    <p:bodyStyle>
      <a:lvl1pPr marL="342803" indent="-342803" algn="l" defTabSz="685613" rtl="0" eaLnBrk="1" latinLnBrk="0" hangingPunct="1">
        <a:spcBef>
          <a:spcPct val="20000"/>
        </a:spcBef>
        <a:buClr>
          <a:srgbClr val="4C4948"/>
        </a:buClr>
        <a:buFont typeface="Arial" panose="020B0604020202020204" pitchFamily="34" charset="0"/>
        <a:buChar char="•"/>
        <a:defRPr kumimoji="1" sz="1500" b="0" i="0" kern="1200" baseline="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1pPr>
      <a:lvl2pPr marL="557059" indent="-214258" algn="l" defTabSz="685613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–"/>
        <a:defRPr kumimoji="1" sz="1500" b="0" i="0" kern="120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2pPr>
      <a:lvl3pPr marL="857018" indent="-171406" algn="l" defTabSz="685613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•"/>
        <a:defRPr kumimoji="1" sz="1500" b="0" i="0" kern="1200" baseline="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3pPr>
      <a:lvl4pPr marL="1199820" indent="-171406" algn="l" defTabSz="685613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–"/>
        <a:defRPr kumimoji="1" sz="1500" b="0" i="0" kern="1200" baseline="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4pPr>
      <a:lvl5pPr marL="1542623" indent="-171406" algn="l" defTabSz="685613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»"/>
        <a:defRPr kumimoji="1" sz="1500" b="0" i="0" kern="1200" baseline="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5pPr>
      <a:lvl6pPr marL="1885433" indent="-171406" algn="l" defTabSz="685613" rtl="0" eaLnBrk="1" latinLnBrk="0" hangingPunct="1">
        <a:spcBef>
          <a:spcPct val="20000"/>
        </a:spcBef>
        <a:buFont typeface="Arial" pitchFamily="34" charset="0"/>
        <a:buChar char="•"/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240" indent="-171406" algn="l" defTabSz="685613" rtl="0" eaLnBrk="1" latinLnBrk="0" hangingPunct="1">
        <a:spcBef>
          <a:spcPct val="20000"/>
        </a:spcBef>
        <a:buFont typeface="Arial" pitchFamily="34" charset="0"/>
        <a:buChar char="•"/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046" indent="-171406" algn="l" defTabSz="685613" rtl="0" eaLnBrk="1" latinLnBrk="0" hangingPunct="1">
        <a:spcBef>
          <a:spcPct val="20000"/>
        </a:spcBef>
        <a:buFont typeface="Arial" pitchFamily="34" charset="0"/>
        <a:buChar char="•"/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857" indent="-171406" algn="l" defTabSz="685613" rtl="0" eaLnBrk="1" latinLnBrk="0" hangingPunct="1">
        <a:spcBef>
          <a:spcPct val="20000"/>
        </a:spcBef>
        <a:buFont typeface="Arial" pitchFamily="34" charset="0"/>
        <a:buChar char="•"/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685613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03" algn="l" defTabSz="685613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13" algn="l" defTabSz="685613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20" algn="l" defTabSz="685613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226" algn="l" defTabSz="685613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037" algn="l" defTabSz="685613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838" algn="l" defTabSz="685613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640" algn="l" defTabSz="685613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443" algn="l" defTabSz="685613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77">
          <p15:clr>
            <a:srgbClr val="F26B43"/>
          </p15:clr>
        </p15:guide>
        <p15:guide id="2" pos="189">
          <p15:clr>
            <a:srgbClr val="F26B43"/>
          </p15:clr>
        </p15:guide>
        <p15:guide id="3" pos="7491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pos="370">
          <p15:clr>
            <a:srgbClr val="F26B43"/>
          </p15:clr>
        </p15:guide>
        <p15:guide id="6" orient="horz" pos="40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283D300-2124-42DF-B73B-3D3D4C546EC6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85269087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95" imgH="394" progId="TCLayout.ActiveDocument.1">
                  <p:embed/>
                </p:oleObj>
              </mc:Choice>
              <mc:Fallback>
                <p:oleObj name="think-cell Slide" r:id="rId28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283D300-2124-42DF-B73B-3D3D4C546E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B895B28-7064-4AD0-A15D-88F99BCA9BAD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kumimoji="1" lang="en-US" altLang="ja-JP" sz="2100" b="0" i="0" baseline="0">
              <a:latin typeface="Calibri" panose="020F0502020204030204" pitchFamily="34" charset="0"/>
              <a:ea typeface="メイリオ" panose="020B0604030504040204" pitchFamily="50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40531" y="1233487"/>
            <a:ext cx="8274845" cy="5183187"/>
          </a:xfrm>
          <a:prstGeom prst="rect">
            <a:avLst/>
          </a:prstGeom>
        </p:spPr>
        <p:txBody>
          <a:bodyPr vert="horz" lIns="0" tIns="45710" rIns="91420" bIns="45710" rtlCol="0">
            <a:normAutofit/>
          </a:bodyPr>
          <a:lstStyle/>
          <a:p>
            <a:pPr lvl="0"/>
            <a:r>
              <a:rPr kumimoji="1" lang="en-US" altLang="ja-JP"/>
              <a:t>Master text</a:t>
            </a:r>
            <a:endParaRPr kumimoji="1" lang="ja-JP" altLang="en-US"/>
          </a:p>
        </p:txBody>
      </p:sp>
      <p:sp>
        <p:nvSpPr>
          <p:cNvPr id="11" name="Footer Placeholder 8">
            <a:extLst>
              <a:ext uri="{FF2B5EF4-FFF2-40B4-BE49-F238E27FC236}">
                <a16:creationId xmlns:a16="http://schemas.microsoft.com/office/drawing/2014/main" id="{44E43001-C216-284A-9EBD-E54B5DD295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24538" y="6489701"/>
            <a:ext cx="3086100" cy="2294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 b="1" spc="75" baseline="0">
                <a:solidFill>
                  <a:schemeClr val="tx1"/>
                </a:solidFill>
              </a:defRPr>
            </a:lvl1pPr>
          </a:lstStyle>
          <a:p>
            <a:r>
              <a:rPr lang="en-JP"/>
              <a:t> </a:t>
            </a:r>
          </a:p>
        </p:txBody>
      </p:sp>
      <p:sp>
        <p:nvSpPr>
          <p:cNvPr id="9" name="タイトル プレースホルダ 1">
            <a:extLst>
              <a:ext uri="{FF2B5EF4-FFF2-40B4-BE49-F238E27FC236}">
                <a16:creationId xmlns:a16="http://schemas.microsoft.com/office/drawing/2014/main" id="{D7981A12-E00B-604C-B863-7CBF31AA64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558" y="161605"/>
            <a:ext cx="742131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Master title</a:t>
            </a:r>
            <a:endParaRPr kumimoji="1" lang="ja-JP" altLang="en-US"/>
          </a:p>
        </p:txBody>
      </p:sp>
      <p:sp>
        <p:nvSpPr>
          <p:cNvPr id="13" name="スライド番号プレースホルダ 5">
            <a:extLst>
              <a:ext uri="{FF2B5EF4-FFF2-40B4-BE49-F238E27FC236}">
                <a16:creationId xmlns:a16="http://schemas.microsoft.com/office/drawing/2014/main" id="{C7AA5A17-3F2F-B94B-9342-A137057B89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489701"/>
            <a:ext cx="442392" cy="229432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914108"/>
            <a:fld id="{E9B57936-92EF-4126-AE48-1D9D36D15E98}" type="slidenum">
              <a:rPr lang="ja-JP" altLang="en-US" smtClean="0"/>
              <a:pPr defTabSz="914108"/>
              <a:t>‹#›</a:t>
            </a:fld>
            <a:endParaRPr lang="ja-JP" altLang="en-US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040AFD2-D90E-7B63-C205-183F4B50F9DF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rcRect/>
          <a:stretch/>
        </p:blipFill>
        <p:spPr>
          <a:xfrm>
            <a:off x="7898319" y="6110930"/>
            <a:ext cx="825739" cy="37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1133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  <p:sldLayoutId id="2147483698" r:id="rId13"/>
    <p:sldLayoutId id="2147483699" r:id="rId14"/>
    <p:sldLayoutId id="2147483700" r:id="rId15"/>
    <p:sldLayoutId id="2147483701" r:id="rId16"/>
    <p:sldLayoutId id="2147483702" r:id="rId17"/>
    <p:sldLayoutId id="2147483703" r:id="rId18"/>
    <p:sldLayoutId id="2147483704" r:id="rId19"/>
    <p:sldLayoutId id="2147483705" r:id="rId20"/>
    <p:sldLayoutId id="2147483706" r:id="rId21"/>
    <p:sldLayoutId id="2147483707" r:id="rId22"/>
    <p:sldLayoutId id="2147483708" r:id="rId23"/>
    <p:sldLayoutId id="2147483709" r:id="rId24"/>
  </p:sldLayoutIdLst>
  <p:hf hdr="0" dt="0"/>
  <p:txStyles>
    <p:titleStyle>
      <a:lvl1pPr algn="l" defTabSz="685613" rtl="0" eaLnBrk="1" latinLnBrk="0" hangingPunct="1">
        <a:lnSpc>
          <a:spcPts val="2100"/>
        </a:lnSpc>
        <a:spcBef>
          <a:spcPct val="0"/>
        </a:spcBef>
        <a:buNone/>
        <a:defRPr kumimoji="1" sz="2100" b="1" i="0" kern="1200" baseline="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1pPr>
    </p:titleStyle>
    <p:bodyStyle>
      <a:lvl1pPr marL="342803" indent="-342803" algn="l" defTabSz="685613" rtl="0" eaLnBrk="1" latinLnBrk="0" hangingPunct="1">
        <a:spcBef>
          <a:spcPct val="20000"/>
        </a:spcBef>
        <a:buClr>
          <a:srgbClr val="4C4948"/>
        </a:buClr>
        <a:buFont typeface="Arial" panose="020B0604020202020204" pitchFamily="34" charset="0"/>
        <a:buChar char="•"/>
        <a:defRPr kumimoji="1" sz="1500" b="0" i="0" kern="1200" baseline="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1pPr>
      <a:lvl2pPr marL="557059" indent="-214258" algn="l" defTabSz="685613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–"/>
        <a:defRPr kumimoji="1" sz="1500" b="0" i="0" kern="120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2pPr>
      <a:lvl3pPr marL="857018" indent="-171406" algn="l" defTabSz="685613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•"/>
        <a:defRPr kumimoji="1" sz="1500" b="0" i="0" kern="1200" baseline="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3pPr>
      <a:lvl4pPr marL="1199820" indent="-171406" algn="l" defTabSz="685613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–"/>
        <a:defRPr kumimoji="1" sz="1500" b="0" i="0" kern="1200" baseline="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4pPr>
      <a:lvl5pPr marL="1542623" indent="-171406" algn="l" defTabSz="685613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»"/>
        <a:defRPr kumimoji="1" sz="1500" b="0" i="0" kern="1200" baseline="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5pPr>
      <a:lvl6pPr marL="1885433" indent="-171406" algn="l" defTabSz="685613" rtl="0" eaLnBrk="1" latinLnBrk="0" hangingPunct="1">
        <a:spcBef>
          <a:spcPct val="20000"/>
        </a:spcBef>
        <a:buFont typeface="Arial" pitchFamily="34" charset="0"/>
        <a:buChar char="•"/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240" indent="-171406" algn="l" defTabSz="685613" rtl="0" eaLnBrk="1" latinLnBrk="0" hangingPunct="1">
        <a:spcBef>
          <a:spcPct val="20000"/>
        </a:spcBef>
        <a:buFont typeface="Arial" pitchFamily="34" charset="0"/>
        <a:buChar char="•"/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046" indent="-171406" algn="l" defTabSz="685613" rtl="0" eaLnBrk="1" latinLnBrk="0" hangingPunct="1">
        <a:spcBef>
          <a:spcPct val="20000"/>
        </a:spcBef>
        <a:buFont typeface="Arial" pitchFamily="34" charset="0"/>
        <a:buChar char="•"/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857" indent="-171406" algn="l" defTabSz="685613" rtl="0" eaLnBrk="1" latinLnBrk="0" hangingPunct="1">
        <a:spcBef>
          <a:spcPct val="20000"/>
        </a:spcBef>
        <a:buFont typeface="Arial" pitchFamily="34" charset="0"/>
        <a:buChar char="•"/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685613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03" algn="l" defTabSz="685613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13" algn="l" defTabSz="685613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20" algn="l" defTabSz="685613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226" algn="l" defTabSz="685613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037" algn="l" defTabSz="685613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838" algn="l" defTabSz="685613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640" algn="l" defTabSz="685613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443" algn="l" defTabSz="685613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77">
          <p15:clr>
            <a:srgbClr val="F26B43"/>
          </p15:clr>
        </p15:guide>
        <p15:guide id="2" pos="189">
          <p15:clr>
            <a:srgbClr val="F26B43"/>
          </p15:clr>
        </p15:guide>
        <p15:guide id="3" pos="7320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pos="370">
          <p15:clr>
            <a:srgbClr val="F26B43"/>
          </p15:clr>
        </p15:guide>
        <p15:guide id="6" orient="horz" pos="408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283D300-2124-42DF-B73B-3D3D4C546EC6}"/>
              </a:ext>
            </a:extLst>
          </p:cNvPr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585269087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395" imgH="394" progId="TCLayout.ActiveDocument.1">
                  <p:embed/>
                </p:oleObj>
              </mc:Choice>
              <mc:Fallback>
                <p:oleObj name="think-cell Slide" r:id="rId27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283D300-2124-42DF-B73B-3D3D4C546E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B895B28-7064-4AD0-A15D-88F99BCA9BAD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kumimoji="1" lang="en-US" altLang="ja-JP" sz="2100" b="0" i="0" baseline="0">
              <a:latin typeface="Calibri" panose="020F0502020204030204" pitchFamily="34" charset="0"/>
              <a:ea typeface="メイリオ" panose="020B0604030504040204" pitchFamily="50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233363" y="1233487"/>
            <a:ext cx="8677275" cy="5183187"/>
          </a:xfrm>
          <a:prstGeom prst="rect">
            <a:avLst/>
          </a:prstGeom>
        </p:spPr>
        <p:txBody>
          <a:bodyPr vert="horz" lIns="0" tIns="45710" rIns="91420" bIns="45710" rtlCol="0">
            <a:normAutofit/>
          </a:bodyPr>
          <a:lstStyle/>
          <a:p>
            <a:pPr lvl="0"/>
            <a:r>
              <a:rPr kumimoji="1" lang="en-US" altLang="ja-JP"/>
              <a:t>Master text</a:t>
            </a:r>
            <a:endParaRPr kumimoji="1" lang="ja-JP" altLang="en-US"/>
          </a:p>
        </p:txBody>
      </p:sp>
      <p:sp>
        <p:nvSpPr>
          <p:cNvPr id="9" name="タイトル プレースホルダ 1">
            <a:extLst>
              <a:ext uri="{FF2B5EF4-FFF2-40B4-BE49-F238E27FC236}">
                <a16:creationId xmlns:a16="http://schemas.microsoft.com/office/drawing/2014/main" id="{D7981A12-E00B-604C-B863-7CBF31AA64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558" y="161605"/>
            <a:ext cx="742131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Master title</a:t>
            </a:r>
            <a:endParaRPr kumimoji="1" lang="ja-JP" altLang="en-US"/>
          </a:p>
        </p:txBody>
      </p:sp>
      <p:sp>
        <p:nvSpPr>
          <p:cNvPr id="13" name="スライド番号プレースホルダ 5">
            <a:extLst>
              <a:ext uri="{FF2B5EF4-FFF2-40B4-BE49-F238E27FC236}">
                <a16:creationId xmlns:a16="http://schemas.microsoft.com/office/drawing/2014/main" id="{C7AA5A17-3F2F-B94B-9342-A137057B89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489701"/>
            <a:ext cx="442392" cy="229432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914108"/>
            <a:fld id="{E9B57936-92EF-4126-AE48-1D9D36D15E98}" type="slidenum">
              <a:rPr lang="ja-JP" altLang="en-US" smtClean="0"/>
              <a:pPr defTabSz="914108"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6336861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  <p:sldLayoutId id="2147483725" r:id="rId15"/>
    <p:sldLayoutId id="2147483726" r:id="rId16"/>
    <p:sldLayoutId id="2147483727" r:id="rId17"/>
    <p:sldLayoutId id="2147483728" r:id="rId18"/>
    <p:sldLayoutId id="2147483729" r:id="rId19"/>
    <p:sldLayoutId id="2147483730" r:id="rId20"/>
    <p:sldLayoutId id="2147483731" r:id="rId21"/>
    <p:sldLayoutId id="2147483732" r:id="rId22"/>
    <p:sldLayoutId id="2147483733" r:id="rId23"/>
  </p:sldLayoutIdLst>
  <p:transition spd="slow">
    <p:push dir="u"/>
  </p:transition>
  <p:hf hdr="0" dt="0"/>
  <p:txStyles>
    <p:titleStyle>
      <a:lvl1pPr algn="l" defTabSz="685613" rtl="0" eaLnBrk="1" latinLnBrk="0" hangingPunct="1">
        <a:lnSpc>
          <a:spcPts val="2100"/>
        </a:lnSpc>
        <a:spcBef>
          <a:spcPct val="0"/>
        </a:spcBef>
        <a:buNone/>
        <a:defRPr kumimoji="1" sz="2100" b="1" i="0" kern="1200" baseline="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1pPr>
    </p:titleStyle>
    <p:bodyStyle>
      <a:lvl1pPr marL="342803" indent="-342803" algn="l" defTabSz="685613" rtl="0" eaLnBrk="1" latinLnBrk="0" hangingPunct="1">
        <a:spcBef>
          <a:spcPct val="20000"/>
        </a:spcBef>
        <a:buClr>
          <a:srgbClr val="4C4948"/>
        </a:buClr>
        <a:buFont typeface="Arial" panose="020B0604020202020204" pitchFamily="34" charset="0"/>
        <a:buChar char="•"/>
        <a:defRPr kumimoji="1" sz="1500" b="0" i="0" kern="1200" baseline="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1pPr>
      <a:lvl2pPr marL="557059" indent="-214258" algn="l" defTabSz="685613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–"/>
        <a:defRPr kumimoji="1" sz="1500" b="0" i="0" kern="120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2pPr>
      <a:lvl3pPr marL="857018" indent="-171406" algn="l" defTabSz="685613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•"/>
        <a:defRPr kumimoji="1" sz="1500" b="0" i="0" kern="1200" baseline="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3pPr>
      <a:lvl4pPr marL="1199820" indent="-171406" algn="l" defTabSz="685613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–"/>
        <a:defRPr kumimoji="1" sz="1500" b="0" i="0" kern="1200" baseline="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4pPr>
      <a:lvl5pPr marL="1542623" indent="-171406" algn="l" defTabSz="685613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»"/>
        <a:defRPr kumimoji="1" sz="1500" b="0" i="0" kern="1200" baseline="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5pPr>
      <a:lvl6pPr marL="1885433" indent="-171406" algn="l" defTabSz="685613" rtl="0" eaLnBrk="1" latinLnBrk="0" hangingPunct="1">
        <a:spcBef>
          <a:spcPct val="20000"/>
        </a:spcBef>
        <a:buFont typeface="Arial" pitchFamily="34" charset="0"/>
        <a:buChar char="•"/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240" indent="-171406" algn="l" defTabSz="685613" rtl="0" eaLnBrk="1" latinLnBrk="0" hangingPunct="1">
        <a:spcBef>
          <a:spcPct val="20000"/>
        </a:spcBef>
        <a:buFont typeface="Arial" pitchFamily="34" charset="0"/>
        <a:buChar char="•"/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046" indent="-171406" algn="l" defTabSz="685613" rtl="0" eaLnBrk="1" latinLnBrk="0" hangingPunct="1">
        <a:spcBef>
          <a:spcPct val="20000"/>
        </a:spcBef>
        <a:buFont typeface="Arial" pitchFamily="34" charset="0"/>
        <a:buChar char="•"/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857" indent="-171406" algn="l" defTabSz="685613" rtl="0" eaLnBrk="1" latinLnBrk="0" hangingPunct="1">
        <a:spcBef>
          <a:spcPct val="20000"/>
        </a:spcBef>
        <a:buFont typeface="Arial" pitchFamily="34" charset="0"/>
        <a:buChar char="•"/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685613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03" algn="l" defTabSz="685613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13" algn="l" defTabSz="685613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20" algn="l" defTabSz="685613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226" algn="l" defTabSz="685613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037" algn="l" defTabSz="685613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838" algn="l" defTabSz="685613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640" algn="l" defTabSz="685613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443" algn="l" defTabSz="685613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77">
          <p15:clr>
            <a:srgbClr val="F26B43"/>
          </p15:clr>
        </p15:guide>
        <p15:guide id="2" pos="189">
          <p15:clr>
            <a:srgbClr val="F26B43"/>
          </p15:clr>
        </p15:guide>
        <p15:guide id="3" pos="7491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pos="370">
          <p15:clr>
            <a:srgbClr val="F26B43"/>
          </p15:clr>
        </p15:guide>
        <p15:guide id="6" orient="horz" pos="408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283D300-2124-42DF-B73B-3D3D4C546EC6}"/>
              </a:ext>
            </a:extLst>
          </p:cNvPr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585269087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395" imgH="394" progId="TCLayout.ActiveDocument.1">
                  <p:embed/>
                </p:oleObj>
              </mc:Choice>
              <mc:Fallback>
                <p:oleObj name="think-cell Slide" r:id="rId2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283D300-2124-42DF-B73B-3D3D4C546E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B895B28-7064-4AD0-A15D-88F99BCA9BAD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kumimoji="1" lang="en-US" altLang="ja-JP" sz="2100" b="0" i="0" baseline="0">
              <a:latin typeface="Calibri" panose="020F0502020204030204" pitchFamily="34" charset="0"/>
              <a:ea typeface="メイリオ" panose="020B0604030504040204" pitchFamily="50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40531" y="1233487"/>
            <a:ext cx="8274845" cy="5183187"/>
          </a:xfrm>
          <a:prstGeom prst="rect">
            <a:avLst/>
          </a:prstGeom>
        </p:spPr>
        <p:txBody>
          <a:bodyPr vert="horz" lIns="0" tIns="45710" rIns="91420" bIns="45710" rtlCol="0">
            <a:normAutofit/>
          </a:bodyPr>
          <a:lstStyle/>
          <a:p>
            <a:pPr lvl="0"/>
            <a:r>
              <a:rPr kumimoji="1" lang="en-US" altLang="ja-JP"/>
              <a:t>Master text</a:t>
            </a:r>
            <a:endParaRPr kumimoji="1" lang="ja-JP" altLang="en-US"/>
          </a:p>
        </p:txBody>
      </p:sp>
      <p:sp>
        <p:nvSpPr>
          <p:cNvPr id="11" name="Footer Placeholder 8">
            <a:extLst>
              <a:ext uri="{FF2B5EF4-FFF2-40B4-BE49-F238E27FC236}">
                <a16:creationId xmlns:a16="http://schemas.microsoft.com/office/drawing/2014/main" id="{44E43001-C216-284A-9EBD-E54B5DD295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24538" y="6489701"/>
            <a:ext cx="3086100" cy="2294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 b="1" spc="75" baseline="0">
                <a:solidFill>
                  <a:schemeClr val="tx1"/>
                </a:solidFill>
              </a:defRPr>
            </a:lvl1pPr>
          </a:lstStyle>
          <a:p>
            <a:r>
              <a:rPr lang="en-JP"/>
              <a:t> </a:t>
            </a:r>
          </a:p>
        </p:txBody>
      </p:sp>
      <p:sp>
        <p:nvSpPr>
          <p:cNvPr id="9" name="タイトル プレースホルダ 1">
            <a:extLst>
              <a:ext uri="{FF2B5EF4-FFF2-40B4-BE49-F238E27FC236}">
                <a16:creationId xmlns:a16="http://schemas.microsoft.com/office/drawing/2014/main" id="{D7981A12-E00B-604C-B863-7CBF31AA64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558" y="161605"/>
            <a:ext cx="742131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/>
              <a:t>Master title</a:t>
            </a:r>
            <a:endParaRPr kumimoji="1" lang="ja-JP" altLang="en-US"/>
          </a:p>
        </p:txBody>
      </p:sp>
      <p:sp>
        <p:nvSpPr>
          <p:cNvPr id="13" name="スライド番号プレースホルダ 5">
            <a:extLst>
              <a:ext uri="{FF2B5EF4-FFF2-40B4-BE49-F238E27FC236}">
                <a16:creationId xmlns:a16="http://schemas.microsoft.com/office/drawing/2014/main" id="{C7AA5A17-3F2F-B94B-9342-A137057B89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489701"/>
            <a:ext cx="442392" cy="229432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6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914108"/>
            <a:fld id="{E9B57936-92EF-4126-AE48-1D9D36D15E98}" type="slidenum">
              <a:rPr lang="ja-JP" altLang="en-US" smtClean="0"/>
              <a:pPr defTabSz="914108"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085117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  <p:sldLayoutId id="2147483746" r:id="rId12"/>
    <p:sldLayoutId id="2147483747" r:id="rId13"/>
    <p:sldLayoutId id="2147483748" r:id="rId14"/>
    <p:sldLayoutId id="2147483749" r:id="rId15"/>
    <p:sldLayoutId id="2147483750" r:id="rId16"/>
    <p:sldLayoutId id="2147483751" r:id="rId17"/>
    <p:sldLayoutId id="2147483752" r:id="rId18"/>
    <p:sldLayoutId id="2147483753" r:id="rId19"/>
    <p:sldLayoutId id="2147483754" r:id="rId20"/>
    <p:sldLayoutId id="2147483755" r:id="rId21"/>
  </p:sldLayoutIdLst>
  <p:transition spd="slow">
    <p:push dir="u"/>
  </p:transition>
  <p:hf hdr="0" dt="0"/>
  <p:txStyles>
    <p:titleStyle>
      <a:lvl1pPr algn="l" defTabSz="685613" rtl="0" eaLnBrk="1" latinLnBrk="0" hangingPunct="1">
        <a:lnSpc>
          <a:spcPts val="2100"/>
        </a:lnSpc>
        <a:spcBef>
          <a:spcPct val="0"/>
        </a:spcBef>
        <a:buNone/>
        <a:defRPr kumimoji="1" sz="2100" b="1" i="0" kern="1200" baseline="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1pPr>
    </p:titleStyle>
    <p:bodyStyle>
      <a:lvl1pPr marL="342803" indent="-342803" algn="l" defTabSz="685613" rtl="0" eaLnBrk="1" latinLnBrk="0" hangingPunct="1">
        <a:spcBef>
          <a:spcPct val="20000"/>
        </a:spcBef>
        <a:buClr>
          <a:srgbClr val="4C4948"/>
        </a:buClr>
        <a:buFont typeface="Arial" panose="020B0604020202020204" pitchFamily="34" charset="0"/>
        <a:buChar char="•"/>
        <a:defRPr kumimoji="1" sz="1500" b="0" i="0" kern="1200" baseline="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1pPr>
      <a:lvl2pPr marL="557059" indent="-214258" algn="l" defTabSz="685613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–"/>
        <a:defRPr kumimoji="1" sz="1500" b="0" i="0" kern="120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2pPr>
      <a:lvl3pPr marL="857018" indent="-171406" algn="l" defTabSz="685613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•"/>
        <a:defRPr kumimoji="1" sz="1500" b="0" i="0" kern="1200" baseline="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3pPr>
      <a:lvl4pPr marL="1199820" indent="-171406" algn="l" defTabSz="685613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–"/>
        <a:defRPr kumimoji="1" sz="1500" b="0" i="0" kern="1200" baseline="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4pPr>
      <a:lvl5pPr marL="1542623" indent="-171406" algn="l" defTabSz="685613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»"/>
        <a:defRPr kumimoji="1" sz="1500" b="0" i="0" kern="1200" baseline="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5pPr>
      <a:lvl6pPr marL="1885433" indent="-171406" algn="l" defTabSz="685613" rtl="0" eaLnBrk="1" latinLnBrk="0" hangingPunct="1">
        <a:spcBef>
          <a:spcPct val="20000"/>
        </a:spcBef>
        <a:buFont typeface="Arial" pitchFamily="34" charset="0"/>
        <a:buChar char="•"/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240" indent="-171406" algn="l" defTabSz="685613" rtl="0" eaLnBrk="1" latinLnBrk="0" hangingPunct="1">
        <a:spcBef>
          <a:spcPct val="20000"/>
        </a:spcBef>
        <a:buFont typeface="Arial" pitchFamily="34" charset="0"/>
        <a:buChar char="•"/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046" indent="-171406" algn="l" defTabSz="685613" rtl="0" eaLnBrk="1" latinLnBrk="0" hangingPunct="1">
        <a:spcBef>
          <a:spcPct val="20000"/>
        </a:spcBef>
        <a:buFont typeface="Arial" pitchFamily="34" charset="0"/>
        <a:buChar char="•"/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857" indent="-171406" algn="l" defTabSz="685613" rtl="0" eaLnBrk="1" latinLnBrk="0" hangingPunct="1">
        <a:spcBef>
          <a:spcPct val="20000"/>
        </a:spcBef>
        <a:buFont typeface="Arial" pitchFamily="34" charset="0"/>
        <a:buChar char="•"/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685613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03" algn="l" defTabSz="685613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13" algn="l" defTabSz="685613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20" algn="l" defTabSz="685613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226" algn="l" defTabSz="685613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037" algn="l" defTabSz="685613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838" algn="l" defTabSz="685613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640" algn="l" defTabSz="685613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443" algn="l" defTabSz="685613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77">
          <p15:clr>
            <a:srgbClr val="F26B43"/>
          </p15:clr>
        </p15:guide>
        <p15:guide id="2" pos="189">
          <p15:clr>
            <a:srgbClr val="F26B43"/>
          </p15:clr>
        </p15:guide>
        <p15:guide id="3" pos="7320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pos="370">
          <p15:clr>
            <a:srgbClr val="F26B43"/>
          </p15:clr>
        </p15:guide>
        <p15:guide id="6" orient="horz" pos="40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7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3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17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16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7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9958" y="1260945"/>
            <a:ext cx="3594682" cy="1999617"/>
          </a:xfrm>
        </p:spPr>
        <p:txBody>
          <a:bodyPr wrap="square" anchor="b">
            <a:normAutofit/>
          </a:bodyPr>
          <a:lstStyle/>
          <a:p>
            <a:pPr>
              <a:defRPr sz="3600" b="1"/>
            </a:pPr>
            <a:r>
              <a:rPr lang="en-US" sz="3600" dirty="0"/>
              <a:t>MLOps Utility for Real-Time Data Drift &amp; Quality Monitoring</a:t>
            </a:r>
          </a:p>
        </p:txBody>
      </p:sp>
      <p:sp>
        <p:nvSpPr>
          <p:cNvPr id="3" name="Subtitle 2"/>
          <p:cNvSpPr>
            <a:spLocks noGrp="1"/>
          </p:cNvSpPr>
          <p:nvPr>
            <p:ph type="body" sz="quarter" idx="30"/>
          </p:nvPr>
        </p:nvSpPr>
        <p:spPr>
          <a:xfrm>
            <a:off x="440532" y="3741998"/>
            <a:ext cx="3594682" cy="674555"/>
          </a:xfrm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r>
              <a:rPr lang="en-US" sz="1400" dirty="0">
                <a:solidFill>
                  <a:schemeClr val="bg2"/>
                </a:solidFill>
              </a:rPr>
              <a:t>	</a:t>
            </a:r>
          </a:p>
          <a:p>
            <a:pPr>
              <a:lnSpc>
                <a:spcPct val="90000"/>
              </a:lnSpc>
            </a:pPr>
            <a:r>
              <a:rPr lang="en-US" sz="1400" dirty="0">
                <a:solidFill>
                  <a:schemeClr val="bg2"/>
                </a:solidFill>
              </a:rPr>
              <a:t>Yash Gupta – Data Scientist</a:t>
            </a:r>
          </a:p>
        </p:txBody>
      </p:sp>
    </p:spTree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559" y="161605"/>
            <a:ext cx="7455190" cy="685801"/>
          </a:xfrm>
        </p:spPr>
        <p:txBody>
          <a:bodyPr anchor="ctr">
            <a:normAutofit/>
          </a:bodyPr>
          <a:lstStyle/>
          <a:p>
            <a:pPr>
              <a:defRPr sz="3600" b="1">
                <a:solidFill>
                  <a:srgbClr val="1A1A66"/>
                </a:solidFill>
              </a:defRPr>
            </a:pPr>
            <a:r>
              <a:rPr lang="en-IN" sz="2800" dirty="0">
                <a:solidFill>
                  <a:schemeClr val="accent2"/>
                </a:solidFill>
              </a:rPr>
              <a:t>Transforming Operations with Automation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9DC20D02-D984-A832-922B-6CFF282818F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46888" y="6420195"/>
            <a:ext cx="5226261" cy="205613"/>
          </a:xfrm>
        </p:spPr>
        <p:txBody>
          <a:bodyPr/>
          <a:lstStyle/>
          <a:p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2093646"/>
              </p:ext>
            </p:extLst>
          </p:nvPr>
        </p:nvGraphicFramePr>
        <p:xfrm>
          <a:off x="246888" y="1200587"/>
          <a:ext cx="8663751" cy="4696453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7921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985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7308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30431">
                <a:tc>
                  <a:txBody>
                    <a:bodyPr/>
                    <a:lstStyle/>
                    <a:p>
                      <a:pPr>
                        <a:defRPr sz="1600" b="1">
                          <a:solidFill>
                            <a:srgbClr val="FFFFFF"/>
                          </a:solidFill>
                        </a:defRPr>
                      </a:pPr>
                      <a:r>
                        <a:rPr lang="en-IN" sz="1400" dirty="0"/>
                        <a:t>Task</a:t>
                      </a:r>
                    </a:p>
                  </a:txBody>
                  <a:tcPr marL="81253" marR="81253" marT="40627" marB="4062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defRPr sz="1600" b="1">
                          <a:solidFill>
                            <a:srgbClr val="FFFFFF"/>
                          </a:solidFill>
                        </a:defRPr>
                      </a:pPr>
                      <a:r>
                        <a:rPr lang="en-IN" sz="1400" dirty="0"/>
                        <a:t>Before Automation</a:t>
                      </a:r>
                    </a:p>
                  </a:txBody>
                  <a:tcPr marL="81253" marR="81253" marT="40627" marB="4062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defRPr sz="1600" b="1">
                          <a:solidFill>
                            <a:srgbClr val="FFFFFF"/>
                          </a:solidFill>
                        </a:defRPr>
                      </a:pPr>
                      <a:r>
                        <a:rPr lang="en-IN" sz="1400" dirty="0"/>
                        <a:t>After Automation</a:t>
                      </a:r>
                    </a:p>
                  </a:txBody>
                  <a:tcPr marL="81253" marR="81253" marT="40627" marB="4062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47107"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IN" sz="1400"/>
                        <a:t>Data Drift Detection</a:t>
                      </a:r>
                    </a:p>
                  </a:txBody>
                  <a:tcPr marL="81253" marR="81253" marT="40627" marB="4062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400"/>
                        <a:t>Manual SQL queries and visual analysis</a:t>
                      </a:r>
                    </a:p>
                  </a:txBody>
                  <a:tcPr marL="81253" marR="81253" marT="40627" marB="4062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400"/>
                        <a:t>Automated detection using Evidently AI</a:t>
                      </a:r>
                    </a:p>
                  </a:txBody>
                  <a:tcPr marL="81253" marR="81253" marT="40627" marB="4062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63783"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IN" sz="1400"/>
                        <a:t>Quality Validation</a:t>
                      </a:r>
                    </a:p>
                  </a:txBody>
                  <a:tcPr marL="81253" marR="81253" marT="40627" marB="4062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IN" sz="1400"/>
                        <a:t>Ad-hoc scripts</a:t>
                      </a:r>
                    </a:p>
                  </a:txBody>
                  <a:tcPr marL="81253" marR="81253" marT="40627" marB="4062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IN" sz="1400"/>
                        <a:t>Continuous profiling integrated in monitoring</a:t>
                      </a:r>
                    </a:p>
                  </a:txBody>
                  <a:tcPr marL="81253" marR="81253" marT="40627" marB="4062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63783"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IN" sz="1400"/>
                        <a:t>Model Monitoring</a:t>
                      </a:r>
                    </a:p>
                  </a:txBody>
                  <a:tcPr marL="81253" marR="81253" marT="40627" marB="4062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400" dirty="0"/>
                        <a:t>Manual metric tracking with limited environment support</a:t>
                      </a:r>
                    </a:p>
                  </a:txBody>
                  <a:tcPr marL="81253" marR="81253" marT="40627" marB="4062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400"/>
                        <a:t>Unified tracking via MLflow, SHAP, and drift insights</a:t>
                      </a:r>
                    </a:p>
                  </a:txBody>
                  <a:tcPr marL="81253" marR="81253" marT="40627" marB="4062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63783"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IN" sz="1400"/>
                        <a:t>Environment Compatibility</a:t>
                      </a:r>
                    </a:p>
                  </a:txBody>
                  <a:tcPr marL="81253" marR="81253" marT="40627" marB="4062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IN" sz="1400"/>
                        <a:t>Limited</a:t>
                      </a:r>
                    </a:p>
                  </a:txBody>
                  <a:tcPr marL="81253" marR="81253" marT="40627" marB="4062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400" dirty="0"/>
                        <a:t>Platform - Agnostic supports local, cloud, and Databricks</a:t>
                      </a:r>
                    </a:p>
                  </a:txBody>
                  <a:tcPr marL="81253" marR="81253" marT="40627" marB="4062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63783"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IN" sz="1400"/>
                        <a:t>Metric Export &amp; Aggregation</a:t>
                      </a:r>
                    </a:p>
                  </a:txBody>
                  <a:tcPr marL="81253" marR="81253" marT="40627" marB="4062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IN" sz="1400" dirty="0"/>
                        <a:t>Manual aggregation</a:t>
                      </a:r>
                    </a:p>
                  </a:txBody>
                  <a:tcPr marL="81253" marR="81253" marT="40627" marB="4062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400"/>
                        <a:t>Automated metric export streamlining workflows</a:t>
                      </a:r>
                    </a:p>
                  </a:txBody>
                  <a:tcPr marL="81253" marR="81253" marT="40627" marB="4062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63783"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IN" sz="1400"/>
                        <a:t>Model Reliability &amp; Governance</a:t>
                      </a:r>
                    </a:p>
                  </a:txBody>
                  <a:tcPr marL="81253" marR="81253" marT="40627" marB="4062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400"/>
                        <a:t>Challenging due to manual processes</a:t>
                      </a:r>
                    </a:p>
                  </a:txBody>
                  <a:tcPr marL="81253" marR="81253" marT="40627" marB="4062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400" dirty="0"/>
                        <a:t>Enhanced through automation and unified tracking</a:t>
                      </a:r>
                    </a:p>
                  </a:txBody>
                  <a:tcPr marL="81253" marR="81253" marT="40627" marB="4062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</p:cSld>
  <p:clrMapOvr>
    <a:masterClrMapping/>
  </p:clrMapOvr>
  <p:transition spd="slow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559" y="161605"/>
            <a:ext cx="7455190" cy="685801"/>
          </a:xfrm>
        </p:spPr>
        <p:txBody>
          <a:bodyPr anchor="ctr">
            <a:normAutofit/>
          </a:bodyPr>
          <a:lstStyle/>
          <a:p>
            <a:pPr>
              <a:defRPr sz="3600" b="1">
                <a:solidFill>
                  <a:srgbClr val="1A1A66"/>
                </a:solidFill>
              </a:defRPr>
            </a:pPr>
            <a:r>
              <a:rPr lang="en-US" sz="2800" dirty="0">
                <a:solidFill>
                  <a:schemeClr val="accent2"/>
                </a:solidFill>
              </a:rPr>
              <a:t>Continuous Monitoring for Reliable Machine Learning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384FBBFB-655E-DA09-AEFC-92CE843FCC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4559" y="6523002"/>
            <a:ext cx="5226261" cy="205613"/>
          </a:xfrm>
        </p:spPr>
        <p:txBody>
          <a:bodyPr/>
          <a:lstStyle/>
          <a:p>
            <a:endParaRPr lang="en-US"/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93180282-9F81-1568-D366-29D995FA1155}"/>
              </a:ext>
            </a:extLst>
          </p:cNvPr>
          <p:cNvGraphicFramePr>
            <a:graphicFrameLocks noGrp="1"/>
          </p:cNvGraphicFramePr>
          <p:nvPr>
            <p:ph type="chart" sz="quarter" idx="21"/>
            <p:extLst>
              <p:ext uri="{D42A27DB-BD31-4B8C-83A1-F6EECF244321}">
                <p14:modId xmlns:p14="http://schemas.microsoft.com/office/powerpoint/2010/main" val="1712594850"/>
              </p:ext>
            </p:extLst>
          </p:nvPr>
        </p:nvGraphicFramePr>
        <p:xfrm>
          <a:off x="246889" y="1426464"/>
          <a:ext cx="8663750" cy="41476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ransition spd="slow">
    <p:push dir="u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EBA23C1-B52B-5D34-FE40-25B1467ABC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>
                <a:solidFill>
                  <a:schemeClr val="accent2"/>
                </a:solidFill>
              </a:rPr>
              <a:t>Future Scope: Expanding Monitoring Capabilities</a:t>
            </a:r>
            <a:br>
              <a:rPr lang="en-IN" dirty="0"/>
            </a:br>
            <a:endParaRPr lang="en-IN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039F4EA-A8B1-9E84-FD15-9CA1864F8A8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IN"/>
          </a:p>
        </p:txBody>
      </p:sp>
      <p:graphicFrame>
        <p:nvGraphicFramePr>
          <p:cNvPr id="11" name="Chart Placeholder 10">
            <a:extLst>
              <a:ext uri="{FF2B5EF4-FFF2-40B4-BE49-F238E27FC236}">
                <a16:creationId xmlns:a16="http://schemas.microsoft.com/office/drawing/2014/main" id="{A8AE2B31-0364-47D7-9118-3DD4A4D1B117}"/>
              </a:ext>
            </a:extLst>
          </p:cNvPr>
          <p:cNvGraphicFramePr>
            <a:graphicFrameLocks noGrp="1"/>
          </p:cNvGraphicFramePr>
          <p:nvPr>
            <p:ph type="chart" sz="quarter" idx="21"/>
            <p:extLst>
              <p:ext uri="{D42A27DB-BD31-4B8C-83A1-F6EECF244321}">
                <p14:modId xmlns:p14="http://schemas.microsoft.com/office/powerpoint/2010/main" val="623056213"/>
              </p:ext>
            </p:extLst>
          </p:nvPr>
        </p:nvGraphicFramePr>
        <p:xfrm>
          <a:off x="454025" y="1357716"/>
          <a:ext cx="8031607" cy="4142568"/>
        </p:xfrm>
        <a:graphic>
          <a:graphicData uri="http://schemas.openxmlformats.org/drawingml/2006/table">
            <a:tbl>
              <a:tblPr firstRow="1" bandRow="1">
                <a:solidFill>
                  <a:schemeClr val="bg1">
                    <a:lumMod val="95000"/>
                  </a:schemeClr>
                </a:solidFill>
                <a:tableStyleId>{3B4B98B0-60AC-42C2-AFA5-B58CD77FA1E5}</a:tableStyleId>
              </a:tblPr>
              <a:tblGrid>
                <a:gridCol w="18340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847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21281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67982">
                <a:tc>
                  <a:txBody>
                    <a:bodyPr/>
                    <a:lstStyle/>
                    <a:p>
                      <a:pPr>
                        <a:defRPr sz="1600" b="1">
                          <a:solidFill>
                            <a:srgbClr val="FFFFFF"/>
                          </a:solidFill>
                        </a:defRPr>
                      </a:pPr>
                      <a:r>
                        <a:rPr lang="en-IN" sz="1900" b="0" cap="none" spc="0" dirty="0">
                          <a:solidFill>
                            <a:schemeClr val="bg1"/>
                          </a:solidFill>
                        </a:rPr>
                        <a:t>Feature Area</a:t>
                      </a:r>
                    </a:p>
                  </a:txBody>
                  <a:tcPr marL="54820" marR="54820" marT="108337" marB="2741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</a:lnT>
                    <a:lnB w="38100" cmpd="sng">
                      <a:noFill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600" b="1">
                          <a:solidFill>
                            <a:srgbClr val="FFFFFF"/>
                          </a:solidFill>
                        </a:defRPr>
                      </a:pPr>
                      <a:r>
                        <a:rPr lang="en-IN" sz="1900" b="0" cap="none" spc="0">
                          <a:solidFill>
                            <a:schemeClr val="bg1"/>
                          </a:solidFill>
                        </a:rPr>
                        <a:t>Planned Enhancements</a:t>
                      </a:r>
                    </a:p>
                  </a:txBody>
                  <a:tcPr marL="54820" marR="54820" marT="108337" marB="2741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</a:lnT>
                    <a:lnB w="38100" cmpd="sng">
                      <a:noFill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600" b="1">
                          <a:solidFill>
                            <a:srgbClr val="FFFFFF"/>
                          </a:solidFill>
                        </a:defRPr>
                      </a:pPr>
                      <a:r>
                        <a:rPr lang="en-IN" sz="1900" b="0" cap="none" spc="0">
                          <a:solidFill>
                            <a:schemeClr val="bg1"/>
                          </a:solidFill>
                        </a:rPr>
                        <a:t>Value / Benefits</a:t>
                      </a:r>
                    </a:p>
                  </a:txBody>
                  <a:tcPr marL="54820" marR="54820" marT="108337" marB="2741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</a:lnT>
                    <a:lnB w="38100" cmpd="sng">
                      <a:noFill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12431"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IN" sz="1400" cap="none" spc="0">
                          <a:solidFill>
                            <a:schemeClr val="tx1"/>
                          </a:solidFill>
                        </a:rPr>
                        <a:t>Concept Drift Detection</a:t>
                      </a:r>
                    </a:p>
                  </a:txBody>
                  <a:tcPr marL="54820" marR="54820" marT="108337" marB="2741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400" cap="none" spc="0">
                          <a:solidFill>
                            <a:schemeClr val="tx1"/>
                          </a:solidFill>
                        </a:rPr>
                        <a:t>Advanced methods: Kolmogorov–Smirnov, PSI, MMD</a:t>
                      </a:r>
                    </a:p>
                  </a:txBody>
                  <a:tcPr marL="54820" marR="54820" marT="108337" marB="2741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400" cap="none" spc="0">
                          <a:solidFill>
                            <a:schemeClr val="tx1"/>
                          </a:solidFill>
                        </a:rPr>
                        <a:t>Improves detection accuracy for model aging and distribution shifts</a:t>
                      </a:r>
                    </a:p>
                  </a:txBody>
                  <a:tcPr marL="54820" marR="54820" marT="108337" marB="2741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12431"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IN" sz="1400" cap="none" spc="0">
                          <a:solidFill>
                            <a:schemeClr val="tx1"/>
                          </a:solidFill>
                        </a:rPr>
                        <a:t>Real-Time Alerts</a:t>
                      </a:r>
                    </a:p>
                  </a:txBody>
                  <a:tcPr marL="54820" marR="54820" marT="108337" marB="2741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400" cap="none" spc="0">
                          <a:solidFill>
                            <a:schemeClr val="tx1"/>
                          </a:solidFill>
                        </a:rPr>
                        <a:t>Integration with Slack and Teams for anomaly notifications</a:t>
                      </a:r>
                    </a:p>
                  </a:txBody>
                  <a:tcPr marL="54820" marR="54820" marT="108337" marB="2741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400" cap="none" spc="0">
                          <a:solidFill>
                            <a:schemeClr val="tx1"/>
                          </a:solidFill>
                        </a:rPr>
                        <a:t>Enhances responsiveness and proactive issue resolution</a:t>
                      </a:r>
                    </a:p>
                  </a:txBody>
                  <a:tcPr marL="54820" marR="54820" marT="108337" marB="2741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12431"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IN" sz="1400" cap="none" spc="0">
                          <a:solidFill>
                            <a:schemeClr val="tx1"/>
                          </a:solidFill>
                        </a:rPr>
                        <a:t>Visualization Dashboard</a:t>
                      </a:r>
                    </a:p>
                  </a:txBody>
                  <a:tcPr marL="54820" marR="54820" marT="108337" marB="2741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400" cap="none" spc="0">
                          <a:solidFill>
                            <a:schemeClr val="tx1"/>
                          </a:solidFill>
                        </a:rPr>
                        <a:t>Power BI and Evidently UI integration layer</a:t>
                      </a:r>
                    </a:p>
                  </a:txBody>
                  <a:tcPr marL="54820" marR="54820" marT="108337" marB="2741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IN" sz="1400" cap="none" spc="0">
                          <a:solidFill>
                            <a:schemeClr val="tx1"/>
                          </a:solidFill>
                        </a:rPr>
                        <a:t>Delivers intuitive data and drift insights for stakeholders</a:t>
                      </a:r>
                    </a:p>
                  </a:txBody>
                  <a:tcPr marL="54820" marR="54820" marT="108337" marB="2741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12431"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IN" sz="1400" cap="none" spc="0">
                          <a:solidFill>
                            <a:schemeClr val="tx1"/>
                          </a:solidFill>
                        </a:rPr>
                        <a:t>Automated Retraining</a:t>
                      </a:r>
                    </a:p>
                  </a:txBody>
                  <a:tcPr marL="54820" marR="54820" marT="108337" marB="2741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400" cap="none" spc="0">
                          <a:solidFill>
                            <a:schemeClr val="tx1"/>
                          </a:solidFill>
                        </a:rPr>
                        <a:t>Pipelines triggered by drift thresholds</a:t>
                      </a:r>
                    </a:p>
                  </a:txBody>
                  <a:tcPr marL="54820" marR="54820" marT="108337" marB="2741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400" cap="none" spc="0">
                          <a:solidFill>
                            <a:schemeClr val="tx1"/>
                          </a:solidFill>
                        </a:rPr>
                        <a:t>Streamlines model maintenance and reduces manual intervention</a:t>
                      </a:r>
                    </a:p>
                  </a:txBody>
                  <a:tcPr marL="54820" marR="54820" marT="108337" marB="2741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12431"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IN" sz="1400" cap="none" spc="0">
                          <a:solidFill>
                            <a:schemeClr val="tx1"/>
                          </a:solidFill>
                        </a:rPr>
                        <a:t>Schema Evolution Monitoring</a:t>
                      </a:r>
                    </a:p>
                  </a:txBody>
                  <a:tcPr marL="54820" marR="54820" marT="108337" marB="2741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400" cap="none" spc="0" dirty="0">
                          <a:solidFill>
                            <a:schemeClr val="tx1"/>
                          </a:solidFill>
                        </a:rPr>
                        <a:t>Track changes in data schema over time</a:t>
                      </a:r>
                    </a:p>
                  </a:txBody>
                  <a:tcPr marL="54820" marR="54820" marT="108337" marB="2741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400" cap="none" spc="0">
                          <a:solidFill>
                            <a:schemeClr val="tx1"/>
                          </a:solidFill>
                        </a:rPr>
                        <a:t>Ensures data integrity and compatibility with model inputs</a:t>
                      </a:r>
                    </a:p>
                  </a:txBody>
                  <a:tcPr marL="54820" marR="54820" marT="108337" marB="2741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12431"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IN" sz="1400" cap="none" spc="0">
                          <a:solidFill>
                            <a:schemeClr val="tx1"/>
                          </a:solidFill>
                        </a:rPr>
                        <a:t>Support for Complex Models</a:t>
                      </a:r>
                    </a:p>
                  </a:txBody>
                  <a:tcPr marL="54820" marR="54820" marT="108337" marB="2741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400" cap="none" spc="0">
                          <a:solidFill>
                            <a:schemeClr val="tx1"/>
                          </a:solidFill>
                        </a:rPr>
                        <a:t>Extend monitoring to time-series and deep learning models</a:t>
                      </a:r>
                    </a:p>
                  </a:txBody>
                  <a:tcPr marL="54820" marR="54820" marT="108337" marB="2741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400" cap="none" spc="0" dirty="0">
                          <a:solidFill>
                            <a:schemeClr val="tx1"/>
                          </a:solidFill>
                        </a:rPr>
                        <a:t>Broadens applicability to diverse ML operational needs</a:t>
                      </a:r>
                    </a:p>
                  </a:txBody>
                  <a:tcPr marL="54820" marR="54820" marT="108337" marB="2741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12339567"/>
      </p:ext>
    </p:extLst>
  </p:cSld>
  <p:clrMapOvr>
    <a:masterClrMapping/>
  </p:clrMapOvr>
  <p:transition spd="slow"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2C5AFFA-3137-5462-BA23-36FD78A5F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575" y="2862071"/>
            <a:ext cx="7455190" cy="685801"/>
          </a:xfrm>
        </p:spPr>
        <p:txBody>
          <a:bodyPr>
            <a:normAutofit/>
          </a:bodyPr>
          <a:lstStyle/>
          <a:p>
            <a:r>
              <a:rPr lang="en-US" sz="4400" dirty="0">
                <a:solidFill>
                  <a:schemeClr val="accent2"/>
                </a:solidFill>
              </a:rPr>
              <a:t>			   Thank You!!!</a:t>
            </a:r>
            <a:endParaRPr lang="en-IN" sz="4400" dirty="0">
              <a:solidFill>
                <a:schemeClr val="accent2"/>
              </a:solidFill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D146852-383A-7213-CE25-1D58241FAF2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26699655"/>
      </p:ext>
    </p:extLst>
  </p:cSld>
  <p:clrMapOvr>
    <a:masterClrMapping/>
  </p:clrMapOvr>
  <p:transition spd="slow">
    <p:push dir="u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558" y="176906"/>
            <a:ext cx="7421313" cy="685801"/>
          </a:xfrm>
        </p:spPr>
        <p:txBody>
          <a:bodyPr anchor="ctr">
            <a:normAutofit/>
          </a:bodyPr>
          <a:lstStyle/>
          <a:p>
            <a:pPr>
              <a:defRPr sz="3600" b="1">
                <a:solidFill>
                  <a:srgbClr val="1A1A66"/>
                </a:solidFill>
              </a:defRPr>
            </a:pPr>
            <a:r>
              <a:rPr lang="en-US" sz="2800" dirty="0">
                <a:solidFill>
                  <a:schemeClr val="accent2"/>
                </a:solidFill>
              </a:rPr>
              <a:t>Future Scope: Expanding Monitoring Capabilities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0013419"/>
              </p:ext>
            </p:extLst>
          </p:nvPr>
        </p:nvGraphicFramePr>
        <p:xfrm>
          <a:off x="233363" y="1753798"/>
          <a:ext cx="8677277" cy="4142568"/>
        </p:xfrm>
        <a:graphic>
          <a:graphicData uri="http://schemas.openxmlformats.org/drawingml/2006/table">
            <a:tbl>
              <a:tblPr firstRow="1" bandRow="1">
                <a:solidFill>
                  <a:schemeClr val="bg1">
                    <a:lumMod val="95000"/>
                  </a:schemeClr>
                </a:solidFill>
                <a:tableStyleId>{3B4B98B0-60AC-42C2-AFA5-B58CD77FA1E5}</a:tableStyleId>
              </a:tblPr>
              <a:tblGrid>
                <a:gridCol w="19814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247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47110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67982">
                <a:tc>
                  <a:txBody>
                    <a:bodyPr/>
                    <a:lstStyle/>
                    <a:p>
                      <a:pPr>
                        <a:defRPr sz="1600" b="1">
                          <a:solidFill>
                            <a:srgbClr val="FFFFFF"/>
                          </a:solidFill>
                        </a:defRPr>
                      </a:pPr>
                      <a:r>
                        <a:rPr lang="en-IN" sz="1900" b="0" cap="none" spc="0" dirty="0">
                          <a:solidFill>
                            <a:schemeClr val="bg1"/>
                          </a:solidFill>
                        </a:rPr>
                        <a:t>Feature Area</a:t>
                      </a:r>
                    </a:p>
                  </a:txBody>
                  <a:tcPr marL="54820" marR="54820" marT="108337" marB="2741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</a:lnT>
                    <a:lnB w="38100" cmpd="sng">
                      <a:noFill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600" b="1">
                          <a:solidFill>
                            <a:srgbClr val="FFFFFF"/>
                          </a:solidFill>
                        </a:defRPr>
                      </a:pPr>
                      <a:r>
                        <a:rPr lang="en-IN" sz="1900" b="0" cap="none" spc="0">
                          <a:solidFill>
                            <a:schemeClr val="bg1"/>
                          </a:solidFill>
                        </a:rPr>
                        <a:t>Planned Enhancements</a:t>
                      </a:r>
                    </a:p>
                  </a:txBody>
                  <a:tcPr marL="54820" marR="54820" marT="108337" marB="2741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</a:lnT>
                    <a:lnB w="38100" cmpd="sng">
                      <a:noFill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600" b="1">
                          <a:solidFill>
                            <a:srgbClr val="FFFFFF"/>
                          </a:solidFill>
                        </a:defRPr>
                      </a:pPr>
                      <a:r>
                        <a:rPr lang="en-IN" sz="1900" b="0" cap="none" spc="0">
                          <a:solidFill>
                            <a:schemeClr val="bg1"/>
                          </a:solidFill>
                        </a:rPr>
                        <a:t>Value / Benefits</a:t>
                      </a:r>
                    </a:p>
                  </a:txBody>
                  <a:tcPr marL="54820" marR="54820" marT="108337" marB="2741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</a:lnT>
                    <a:lnB w="38100" cmpd="sng">
                      <a:noFill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12431"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IN" sz="1400" cap="none" spc="0">
                          <a:solidFill>
                            <a:schemeClr val="tx1"/>
                          </a:solidFill>
                        </a:rPr>
                        <a:t>Concept Drift Detection</a:t>
                      </a:r>
                    </a:p>
                  </a:txBody>
                  <a:tcPr marL="54820" marR="54820" marT="108337" marB="2741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400" cap="none" spc="0">
                          <a:solidFill>
                            <a:schemeClr val="tx1"/>
                          </a:solidFill>
                        </a:rPr>
                        <a:t>Advanced methods: Kolmogorov–Smirnov, PSI, MMD</a:t>
                      </a:r>
                    </a:p>
                  </a:txBody>
                  <a:tcPr marL="54820" marR="54820" marT="108337" marB="2741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400" cap="none" spc="0">
                          <a:solidFill>
                            <a:schemeClr val="tx1"/>
                          </a:solidFill>
                        </a:rPr>
                        <a:t>Improves detection accuracy for model aging and distribution shifts</a:t>
                      </a:r>
                    </a:p>
                  </a:txBody>
                  <a:tcPr marL="54820" marR="54820" marT="108337" marB="2741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12431"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IN" sz="1400" cap="none" spc="0">
                          <a:solidFill>
                            <a:schemeClr val="tx1"/>
                          </a:solidFill>
                        </a:rPr>
                        <a:t>Real-Time Alerts</a:t>
                      </a:r>
                    </a:p>
                  </a:txBody>
                  <a:tcPr marL="54820" marR="54820" marT="108337" marB="2741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400" cap="none" spc="0">
                          <a:solidFill>
                            <a:schemeClr val="tx1"/>
                          </a:solidFill>
                        </a:rPr>
                        <a:t>Integration with Slack and Teams for anomaly notifications</a:t>
                      </a:r>
                    </a:p>
                  </a:txBody>
                  <a:tcPr marL="54820" marR="54820" marT="108337" marB="2741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400" cap="none" spc="0">
                          <a:solidFill>
                            <a:schemeClr val="tx1"/>
                          </a:solidFill>
                        </a:rPr>
                        <a:t>Enhances responsiveness and proactive issue resolution</a:t>
                      </a:r>
                    </a:p>
                  </a:txBody>
                  <a:tcPr marL="54820" marR="54820" marT="108337" marB="2741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12431"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IN" sz="1400" cap="none" spc="0">
                          <a:solidFill>
                            <a:schemeClr val="tx1"/>
                          </a:solidFill>
                        </a:rPr>
                        <a:t>Visualization Dashboard</a:t>
                      </a:r>
                    </a:p>
                  </a:txBody>
                  <a:tcPr marL="54820" marR="54820" marT="108337" marB="2741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400" cap="none" spc="0">
                          <a:solidFill>
                            <a:schemeClr val="tx1"/>
                          </a:solidFill>
                        </a:rPr>
                        <a:t>Power BI and Evidently UI integration layer</a:t>
                      </a:r>
                    </a:p>
                  </a:txBody>
                  <a:tcPr marL="54820" marR="54820" marT="108337" marB="2741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IN" sz="1400" cap="none" spc="0">
                          <a:solidFill>
                            <a:schemeClr val="tx1"/>
                          </a:solidFill>
                        </a:rPr>
                        <a:t>Delivers intuitive data and drift insights for stakeholders</a:t>
                      </a:r>
                    </a:p>
                  </a:txBody>
                  <a:tcPr marL="54820" marR="54820" marT="108337" marB="2741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12431"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IN" sz="1400" cap="none" spc="0">
                          <a:solidFill>
                            <a:schemeClr val="tx1"/>
                          </a:solidFill>
                        </a:rPr>
                        <a:t>Automated Retraining</a:t>
                      </a:r>
                    </a:p>
                  </a:txBody>
                  <a:tcPr marL="54820" marR="54820" marT="108337" marB="2741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400" cap="none" spc="0">
                          <a:solidFill>
                            <a:schemeClr val="tx1"/>
                          </a:solidFill>
                        </a:rPr>
                        <a:t>Pipelines triggered by drift thresholds</a:t>
                      </a:r>
                    </a:p>
                  </a:txBody>
                  <a:tcPr marL="54820" marR="54820" marT="108337" marB="2741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400" cap="none" spc="0">
                          <a:solidFill>
                            <a:schemeClr val="tx1"/>
                          </a:solidFill>
                        </a:rPr>
                        <a:t>Streamlines model maintenance and reduces manual intervention</a:t>
                      </a:r>
                    </a:p>
                  </a:txBody>
                  <a:tcPr marL="54820" marR="54820" marT="108337" marB="2741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12431"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IN" sz="1400" cap="none" spc="0">
                          <a:solidFill>
                            <a:schemeClr val="tx1"/>
                          </a:solidFill>
                        </a:rPr>
                        <a:t>Schema Evolution Monitoring</a:t>
                      </a:r>
                    </a:p>
                  </a:txBody>
                  <a:tcPr marL="54820" marR="54820" marT="108337" marB="2741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400" cap="none" spc="0" dirty="0">
                          <a:solidFill>
                            <a:schemeClr val="tx1"/>
                          </a:solidFill>
                        </a:rPr>
                        <a:t>Track changes in data schema over time</a:t>
                      </a:r>
                    </a:p>
                  </a:txBody>
                  <a:tcPr marL="54820" marR="54820" marT="108337" marB="2741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400" cap="none" spc="0">
                          <a:solidFill>
                            <a:schemeClr val="tx1"/>
                          </a:solidFill>
                        </a:rPr>
                        <a:t>Ensures data integrity and compatibility with model inputs</a:t>
                      </a:r>
                    </a:p>
                  </a:txBody>
                  <a:tcPr marL="54820" marR="54820" marT="108337" marB="2741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12431"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IN" sz="1400" cap="none" spc="0">
                          <a:solidFill>
                            <a:schemeClr val="tx1"/>
                          </a:solidFill>
                        </a:rPr>
                        <a:t>Support for Complex Models</a:t>
                      </a:r>
                    </a:p>
                  </a:txBody>
                  <a:tcPr marL="54820" marR="54820" marT="108337" marB="2741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400" cap="none" spc="0">
                          <a:solidFill>
                            <a:schemeClr val="tx1"/>
                          </a:solidFill>
                        </a:rPr>
                        <a:t>Extend monitoring to time-series and deep learning models</a:t>
                      </a:r>
                    </a:p>
                  </a:txBody>
                  <a:tcPr marL="54820" marR="54820" marT="108337" marB="2741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400" cap="none" spc="0" dirty="0">
                          <a:solidFill>
                            <a:schemeClr val="tx1"/>
                          </a:solidFill>
                        </a:rPr>
                        <a:t>Broadens applicability to diverse ML operational needs</a:t>
                      </a:r>
                    </a:p>
                  </a:txBody>
                  <a:tcPr marL="54820" marR="54820" marT="108337" marB="2741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</p:cSld>
  <p:clrMapOvr>
    <a:masterClrMapping/>
  </p:clrMapOvr>
  <p:transition spd="slow"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328" y="161605"/>
            <a:ext cx="7836407" cy="685801"/>
          </a:xfrm>
        </p:spPr>
        <p:txBody>
          <a:bodyPr anchor="ctr">
            <a:normAutofit/>
          </a:bodyPr>
          <a:lstStyle/>
          <a:p>
            <a:pPr>
              <a:defRPr sz="3600" b="1">
                <a:solidFill>
                  <a:srgbClr val="1A1A66"/>
                </a:solidFill>
              </a:defRPr>
            </a:pPr>
            <a:r>
              <a:rPr lang="fr-FR" sz="2400" dirty="0">
                <a:solidFill>
                  <a:schemeClr val="accent2"/>
                </a:solidFill>
              </a:rPr>
              <a:t>Platform - Agnostic Design: Flexible Multi - </a:t>
            </a:r>
            <a:r>
              <a:rPr lang="fr-FR" sz="2400" dirty="0" err="1">
                <a:solidFill>
                  <a:schemeClr val="accent2"/>
                </a:solidFill>
              </a:rPr>
              <a:t>Environment</a:t>
            </a:r>
            <a:r>
              <a:rPr lang="fr-FR" sz="2400" dirty="0">
                <a:solidFill>
                  <a:schemeClr val="accent2"/>
                </a:solidFill>
              </a:rPr>
              <a:t> Suppo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124FE413-62FA-593B-5171-B34139B624C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31917" y="6490782"/>
            <a:ext cx="5226261" cy="205613"/>
          </a:xfrm>
        </p:spPr>
        <p:txBody>
          <a:bodyPr/>
          <a:lstStyle/>
          <a:p>
            <a:endParaRPr lang="en-US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6051192"/>
              </p:ext>
            </p:extLst>
          </p:nvPr>
        </p:nvGraphicFramePr>
        <p:xfrm>
          <a:off x="231917" y="1709928"/>
          <a:ext cx="8678723" cy="37892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17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579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5794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0107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97088">
                <a:tc>
                  <a:txBody>
                    <a:bodyPr/>
                    <a:lstStyle/>
                    <a:p>
                      <a:pPr>
                        <a:defRPr sz="1600" b="1">
                          <a:solidFill>
                            <a:srgbClr val="FFFFFF"/>
                          </a:solidFill>
                        </a:defRPr>
                      </a:pPr>
                      <a:r>
                        <a:rPr lang="en-IN" sz="1100" dirty="0"/>
                        <a:t>Platform</a:t>
                      </a:r>
                    </a:p>
                  </a:txBody>
                  <a:tcPr marL="63331" marR="63331" marT="31666" marB="31666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600" b="1">
                          <a:solidFill>
                            <a:srgbClr val="FFFFFF"/>
                          </a:solidFill>
                        </a:defRPr>
                      </a:pPr>
                      <a:r>
                        <a:rPr lang="en-IN" sz="1100" dirty="0"/>
                        <a:t>Support Type</a:t>
                      </a:r>
                    </a:p>
                  </a:txBody>
                  <a:tcPr marL="63331" marR="63331" marT="31666" marB="31666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600" b="1">
                          <a:solidFill>
                            <a:srgbClr val="FFFFFF"/>
                          </a:solidFill>
                        </a:defRPr>
                      </a:pPr>
                      <a:r>
                        <a:rPr lang="en-IN" sz="1100" dirty="0"/>
                        <a:t>Data Export Formats</a:t>
                      </a:r>
                    </a:p>
                  </a:txBody>
                  <a:tcPr marL="63331" marR="63331" marT="31666" marB="31666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600" b="1">
                          <a:solidFill>
                            <a:srgbClr val="FFFFFF"/>
                          </a:solidFill>
                        </a:defRPr>
                      </a:pPr>
                      <a:r>
                        <a:rPr lang="en-IN" sz="1100" dirty="0"/>
                        <a:t>Integration Mode</a:t>
                      </a:r>
                    </a:p>
                  </a:txBody>
                  <a:tcPr marL="63331" marR="63331" marT="31666" marB="31666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3047"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IN" sz="1100"/>
                        <a:t>Local Systems</a:t>
                      </a:r>
                    </a:p>
                  </a:txBody>
                  <a:tcPr marL="63331" marR="63331" marT="31666" marB="31666">
                    <a:solidFill>
                      <a:srgbClr val="F6F6F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100"/>
                        <a:t>Automated environment detection and I/O handling</a:t>
                      </a:r>
                    </a:p>
                  </a:txBody>
                  <a:tcPr marL="63331" marR="63331" marT="31666" marB="31666">
                    <a:solidFill>
                      <a:srgbClr val="F6F6F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IN" sz="1100"/>
                        <a:t>CSV, Parquet</a:t>
                      </a:r>
                    </a:p>
                  </a:txBody>
                  <a:tcPr marL="63331" marR="63331" marT="31666" marB="31666">
                    <a:solidFill>
                      <a:srgbClr val="F6F6F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100"/>
                        <a:t>Smooth integration into existing CI/CD pipelines</a:t>
                      </a:r>
                    </a:p>
                  </a:txBody>
                  <a:tcPr marL="63331" marR="63331" marT="31666" marB="31666">
                    <a:solidFill>
                      <a:srgbClr val="F6F6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23047"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IN" sz="1100"/>
                        <a:t>Databricks with Unity Catalog</a:t>
                      </a:r>
                    </a:p>
                  </a:txBody>
                  <a:tcPr marL="63331" marR="63331" marT="31666" marB="31666">
                    <a:solidFill>
                      <a:srgbClr val="F6F6F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100" dirty="0"/>
                        <a:t>Auto-detects environment for optimized data operations</a:t>
                      </a:r>
                    </a:p>
                  </a:txBody>
                  <a:tcPr marL="63331" marR="63331" marT="31666" marB="31666">
                    <a:solidFill>
                      <a:srgbClr val="F6F6F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IN" sz="1100"/>
                        <a:t>Delta tables</a:t>
                      </a:r>
                    </a:p>
                  </a:txBody>
                  <a:tcPr marL="63331" marR="63331" marT="31666" marB="31666">
                    <a:solidFill>
                      <a:srgbClr val="F6F6F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100"/>
                        <a:t>Platform-neutral deployment enabling flexible workflows</a:t>
                      </a:r>
                    </a:p>
                  </a:txBody>
                  <a:tcPr marL="63331" marR="63331" marT="31666" marB="31666">
                    <a:solidFill>
                      <a:srgbClr val="F6F6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23047"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IN" sz="1100"/>
                        <a:t>AWS Redshift</a:t>
                      </a:r>
                    </a:p>
                  </a:txBody>
                  <a:tcPr marL="63331" marR="63331" marT="31666" marB="31666">
                    <a:solidFill>
                      <a:srgbClr val="F6F6F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IN" sz="1100" dirty="0"/>
                        <a:t>Environment-aware I/O management</a:t>
                      </a:r>
                    </a:p>
                  </a:txBody>
                  <a:tcPr marL="63331" marR="63331" marT="31666" marB="31666">
                    <a:solidFill>
                      <a:srgbClr val="F6F6F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IN" sz="1100"/>
                        <a:t>SQL, CSV</a:t>
                      </a:r>
                    </a:p>
                  </a:txBody>
                  <a:tcPr marL="63331" marR="63331" marT="31666" marB="31666">
                    <a:solidFill>
                      <a:srgbClr val="F6F6F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100"/>
                        <a:t>Easy integration without platform lock-in</a:t>
                      </a:r>
                    </a:p>
                  </a:txBody>
                  <a:tcPr marL="63331" marR="63331" marT="31666" marB="31666">
                    <a:solidFill>
                      <a:srgbClr val="F6F6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23047"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IN" sz="1100"/>
                        <a:t>On-premises &amp; Custom Cloud</a:t>
                      </a:r>
                    </a:p>
                  </a:txBody>
                  <a:tcPr marL="63331" marR="63331" marT="31666" marB="31666">
                    <a:solidFill>
                      <a:srgbClr val="F6F6F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100" dirty="0"/>
                        <a:t>Custom environment detection and adaptable handling</a:t>
                      </a:r>
                    </a:p>
                  </a:txBody>
                  <a:tcPr marL="63331" marR="63331" marT="31666" marB="31666">
                    <a:solidFill>
                      <a:srgbClr val="F6F6F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IN" sz="1100"/>
                        <a:t>CSV, Parquet, SQL</a:t>
                      </a:r>
                    </a:p>
                  </a:txBody>
                  <a:tcPr marL="63331" marR="63331" marT="31666" marB="31666">
                    <a:solidFill>
                      <a:srgbClr val="F6F6F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IN" sz="1100" dirty="0"/>
                        <a:t>Supports diverse organizational infrastructures</a:t>
                      </a:r>
                    </a:p>
                  </a:txBody>
                  <a:tcPr marL="63331" marR="63331" marT="31666" marB="31666">
                    <a:solidFill>
                      <a:srgbClr val="F6F6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</p:cSld>
  <p:clrMapOvr>
    <a:masterClrMapping/>
  </p:clrMapOvr>
  <p:transition spd="slow"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559" y="161605"/>
            <a:ext cx="7455190" cy="685801"/>
          </a:xfrm>
        </p:spPr>
        <p:txBody>
          <a:bodyPr anchor="ctr">
            <a:normAutofit/>
          </a:bodyPr>
          <a:lstStyle/>
          <a:p>
            <a:pPr>
              <a:defRPr sz="3600" b="1">
                <a:solidFill>
                  <a:srgbClr val="1A1A66"/>
                </a:solidFill>
              </a:defRPr>
            </a:pPr>
            <a:r>
              <a:rPr lang="en-US" sz="2800" dirty="0">
                <a:solidFill>
                  <a:schemeClr val="accent2"/>
                </a:solidFill>
              </a:rPr>
              <a:t>Comprehensive Metrics Tracking for Robust Governanc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618156A0-7070-F6D1-A697-4E2D3D50BD9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4559" y="6523002"/>
            <a:ext cx="5226261" cy="205613"/>
          </a:xfrm>
        </p:spPr>
        <p:txBody>
          <a:bodyPr/>
          <a:lstStyle/>
          <a:p>
            <a:endParaRPr lang="en-US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5870615"/>
              </p:ext>
            </p:extLst>
          </p:nvPr>
        </p:nvGraphicFramePr>
        <p:xfrm>
          <a:off x="231917" y="1874520"/>
          <a:ext cx="8678723" cy="364845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48211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438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1238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64039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24317">
                <a:tc>
                  <a:txBody>
                    <a:bodyPr/>
                    <a:lstStyle/>
                    <a:p>
                      <a:pPr>
                        <a:defRPr sz="1600" b="1">
                          <a:solidFill>
                            <a:srgbClr val="FFFFFF"/>
                          </a:solidFill>
                        </a:defRPr>
                      </a:pPr>
                      <a:r>
                        <a:rPr lang="en-IN" sz="1100"/>
                        <a:t>Metric Type</a:t>
                      </a:r>
                    </a:p>
                  </a:txBody>
                  <a:tcPr marL="50672" marR="50672" marT="25336" marB="25336"/>
                </a:tc>
                <a:tc>
                  <a:txBody>
                    <a:bodyPr/>
                    <a:lstStyle/>
                    <a:p>
                      <a:pPr>
                        <a:defRPr sz="1600" b="1">
                          <a:solidFill>
                            <a:srgbClr val="FFFFFF"/>
                          </a:solidFill>
                        </a:defRPr>
                      </a:pPr>
                      <a:r>
                        <a:rPr lang="en-IN" sz="1100"/>
                        <a:t>Source/SDK</a:t>
                      </a:r>
                    </a:p>
                  </a:txBody>
                  <a:tcPr marL="50672" marR="50672" marT="25336" marB="25336"/>
                </a:tc>
                <a:tc>
                  <a:txBody>
                    <a:bodyPr/>
                    <a:lstStyle/>
                    <a:p>
                      <a:pPr>
                        <a:defRPr sz="1600" b="1">
                          <a:solidFill>
                            <a:srgbClr val="FFFFFF"/>
                          </a:solidFill>
                        </a:defRPr>
                      </a:pPr>
                      <a:r>
                        <a:rPr lang="en-IN" sz="1100"/>
                        <a:t>Tracked Elements</a:t>
                      </a:r>
                    </a:p>
                  </a:txBody>
                  <a:tcPr marL="50672" marR="50672" marT="25336" marB="25336"/>
                </a:tc>
                <a:tc>
                  <a:txBody>
                    <a:bodyPr/>
                    <a:lstStyle/>
                    <a:p>
                      <a:pPr>
                        <a:defRPr sz="1600" b="1">
                          <a:solidFill>
                            <a:srgbClr val="FFFFFF"/>
                          </a:solidFill>
                        </a:defRPr>
                      </a:pPr>
                      <a:r>
                        <a:rPr lang="en-IN" sz="1100"/>
                        <a:t>Governance Purpose</a:t>
                      </a:r>
                    </a:p>
                  </a:txBody>
                  <a:tcPr marL="50672" marR="50672" marT="25336" marB="25336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99956"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IN" sz="1100"/>
                        <a:t>Data Drift Metrics</a:t>
                      </a:r>
                    </a:p>
                  </a:txBody>
                  <a:tcPr marL="50672" marR="50672" marT="25336" marB="25336"/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IN" sz="1100"/>
                        <a:t>Evidently AI (DataDriftSDK)</a:t>
                      </a:r>
                    </a:p>
                  </a:txBody>
                  <a:tcPr marL="50672" marR="50672" marT="25336" marB="25336"/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IN" sz="1100"/>
                        <a:t>Shifts in input distributions</a:t>
                      </a:r>
                    </a:p>
                  </a:txBody>
                  <a:tcPr marL="50672" marR="50672" marT="25336" marB="25336"/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100"/>
                        <a:t>Detects data input variations impacting model validity</a:t>
                      </a:r>
                    </a:p>
                  </a:txBody>
                  <a:tcPr marL="50672" marR="50672" marT="25336" marB="25336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4317"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IN" sz="1100"/>
                        <a:t>Data Quality Metrics</a:t>
                      </a:r>
                    </a:p>
                  </a:txBody>
                  <a:tcPr marL="50672" marR="50672" marT="25336" marB="25336"/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IN" sz="1100"/>
                        <a:t>DataQualitySDK</a:t>
                      </a:r>
                    </a:p>
                  </a:txBody>
                  <a:tcPr marL="50672" marR="50672" marT="25336" marB="25336"/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IN" sz="1100"/>
                        <a:t>Missingness, Variance</a:t>
                      </a:r>
                    </a:p>
                  </a:txBody>
                  <a:tcPr marL="50672" marR="50672" marT="25336" marB="25336"/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100"/>
                        <a:t>Monitors data integrity and consistency</a:t>
                      </a:r>
                    </a:p>
                  </a:txBody>
                  <a:tcPr marL="50672" marR="50672" marT="25336" marB="25336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99956"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IN" sz="1100"/>
                        <a:t>Model Performance Metrics</a:t>
                      </a:r>
                    </a:p>
                  </a:txBody>
                  <a:tcPr marL="50672" marR="50672" marT="25336" marB="25336"/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IN" sz="1100"/>
                        <a:t>ModelMonitoringSDK</a:t>
                      </a:r>
                    </a:p>
                  </a:txBody>
                  <a:tcPr marL="50672" marR="50672" marT="25336" marB="25336"/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100"/>
                        <a:t>Accuracy, Recall, RMSE, SHAP importances</a:t>
                      </a:r>
                    </a:p>
                  </a:txBody>
                  <a:tcPr marL="50672" marR="50672" marT="25336" marB="25336"/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100"/>
                        <a:t>Evaluates model effectiveness and explains feature impact</a:t>
                      </a:r>
                    </a:p>
                  </a:txBody>
                  <a:tcPr marL="50672" marR="50672" marT="25336" marB="25336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99956"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IN" sz="1100"/>
                        <a:t>Operational Metrics</a:t>
                      </a:r>
                    </a:p>
                  </a:txBody>
                  <a:tcPr marL="50672" marR="50672" marT="25336" marB="25336"/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IN" sz="1100"/>
                        <a:t>Local logs / Spark</a:t>
                      </a:r>
                    </a:p>
                  </a:txBody>
                  <a:tcPr marL="50672" marR="50672" marT="25336" marB="25336"/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IN" sz="1100"/>
                        <a:t>Runtime, Frequency</a:t>
                      </a:r>
                    </a:p>
                  </a:txBody>
                  <a:tcPr marL="50672" marR="50672" marT="25336" marB="25336"/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100"/>
                        <a:t>Tracks execution details supporting operational oversight</a:t>
                      </a:r>
                    </a:p>
                  </a:txBody>
                  <a:tcPr marL="50672" marR="50672" marT="25336" marB="25336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99956"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IN" sz="1100"/>
                        <a:t>Record Attributes</a:t>
                      </a:r>
                    </a:p>
                  </a:txBody>
                  <a:tcPr marL="50672" marR="50672" marT="25336" marB="25336"/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IN" sz="1100"/>
                        <a:t>All Systems</a:t>
                      </a:r>
                    </a:p>
                  </a:txBody>
                  <a:tcPr marL="50672" marR="50672" marT="25336" marB="25336"/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100"/>
                        <a:t>Timestamp, Model Name, Metric Scores, Drifted Feature Counts, Environment Info</a:t>
                      </a:r>
                    </a:p>
                  </a:txBody>
                  <a:tcPr marL="50672" marR="50672" marT="25336" marB="25336"/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100" dirty="0"/>
                        <a:t>Supports governance dashboards and automated retraining triggers</a:t>
                      </a:r>
                    </a:p>
                  </a:txBody>
                  <a:tcPr marL="50672" marR="50672" marT="25336" marB="25336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</p:cSld>
  <p:clrMapOvr>
    <a:masterClrMapping/>
  </p:clrMapOvr>
  <p:transition spd="slow">
    <p:push dir="u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559" y="161605"/>
            <a:ext cx="7455190" cy="685801"/>
          </a:xfrm>
        </p:spPr>
        <p:txBody>
          <a:bodyPr anchor="ctr">
            <a:normAutofit/>
          </a:bodyPr>
          <a:lstStyle/>
          <a:p>
            <a:pPr>
              <a:defRPr sz="3600" b="1">
                <a:solidFill>
                  <a:srgbClr val="1A1A66"/>
                </a:solidFill>
              </a:defRPr>
            </a:pPr>
            <a:r>
              <a:rPr lang="en-IN" sz="2400" dirty="0"/>
              <a:t>Stakeholders Empowered by Monitoring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633EB77C-8B93-FF1F-3382-A1D243B6216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4559" y="6523002"/>
            <a:ext cx="5226261" cy="205613"/>
          </a:xfrm>
        </p:spPr>
        <p:txBody>
          <a:bodyPr/>
          <a:lstStyle/>
          <a:p>
            <a:endParaRPr lang="en-US"/>
          </a:p>
        </p:txBody>
      </p:sp>
      <p:graphicFrame>
        <p:nvGraphicFramePr>
          <p:cNvPr id="15" name="Content Placeholder 2">
            <a:extLst>
              <a:ext uri="{FF2B5EF4-FFF2-40B4-BE49-F238E27FC236}">
                <a16:creationId xmlns:a16="http://schemas.microsoft.com/office/drawing/2014/main" id="{B1CF256C-0C38-5B67-CD80-AC219AED2168}"/>
              </a:ext>
            </a:extLst>
          </p:cNvPr>
          <p:cNvGraphicFramePr>
            <a:graphicFrameLocks noGrp="1"/>
          </p:cNvGraphicFramePr>
          <p:nvPr>
            <p:ph type="chart" sz="quarter" idx="22"/>
            <p:extLst>
              <p:ext uri="{D42A27DB-BD31-4B8C-83A1-F6EECF244321}">
                <p14:modId xmlns:p14="http://schemas.microsoft.com/office/powerpoint/2010/main" val="2100694411"/>
              </p:ext>
            </p:extLst>
          </p:nvPr>
        </p:nvGraphicFramePr>
        <p:xfrm>
          <a:off x="190810" y="1166875"/>
          <a:ext cx="8762379" cy="452424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ransition spd="slow">
    <p:push dir="u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558" y="161605"/>
            <a:ext cx="7647026" cy="685801"/>
          </a:xfrm>
        </p:spPr>
        <p:txBody>
          <a:bodyPr anchor="ctr">
            <a:normAutofit/>
          </a:bodyPr>
          <a:lstStyle/>
          <a:p>
            <a:pPr>
              <a:defRPr sz="3600" b="1">
                <a:solidFill>
                  <a:srgbClr val="1A1A66"/>
                </a:solidFill>
              </a:defRPr>
            </a:pPr>
            <a:r>
              <a:rPr lang="en-US" sz="2400" dirty="0">
                <a:solidFill>
                  <a:schemeClr val="accent2"/>
                </a:solidFill>
              </a:rPr>
              <a:t>Driving Scalable, Transparent, and Compliant ML Operations</a:t>
            </a: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0FD853F0-584B-D89F-838D-127111EE396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47142761"/>
              </p:ext>
            </p:extLst>
          </p:nvPr>
        </p:nvGraphicFramePr>
        <p:xfrm>
          <a:off x="233362" y="1289304"/>
          <a:ext cx="8677275" cy="40325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0519C44B-75F8-6309-3512-0038E3982B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C08500-FF52-D2B5-00FB-ABD9983533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559" y="161605"/>
            <a:ext cx="7455190" cy="685801"/>
          </a:xfrm>
        </p:spPr>
        <p:txBody>
          <a:bodyPr anchor="ctr">
            <a:normAutofit/>
          </a:bodyPr>
          <a:lstStyle/>
          <a:p>
            <a:pPr>
              <a:defRPr sz="3600" b="1">
                <a:solidFill>
                  <a:srgbClr val="1A1A66"/>
                </a:solidFill>
              </a:defRPr>
            </a:pPr>
            <a:r>
              <a:rPr lang="en-US" sz="2400" dirty="0">
                <a:solidFill>
                  <a:schemeClr val="accent2"/>
                </a:solidFill>
              </a:rPr>
              <a:t>Seamless Integration Across ML Workflows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54E36142-9B21-9C15-A675-6BBDC063ED8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4559" y="6523002"/>
            <a:ext cx="5226261" cy="205613"/>
          </a:xfrm>
        </p:spPr>
        <p:txBody>
          <a:bodyPr/>
          <a:lstStyle/>
          <a:p>
            <a:endParaRPr lang="en-US"/>
          </a:p>
        </p:txBody>
      </p:sp>
      <p:graphicFrame>
        <p:nvGraphicFramePr>
          <p:cNvPr id="20" name="Content Placeholder 2">
            <a:extLst>
              <a:ext uri="{FF2B5EF4-FFF2-40B4-BE49-F238E27FC236}">
                <a16:creationId xmlns:a16="http://schemas.microsoft.com/office/drawing/2014/main" id="{4BFA07D8-2F45-16DD-9F23-83CD7965DDCA}"/>
              </a:ext>
            </a:extLst>
          </p:cNvPr>
          <p:cNvGraphicFramePr/>
          <p:nvPr/>
        </p:nvGraphicFramePr>
        <p:xfrm>
          <a:off x="1701890" y="1230160"/>
          <a:ext cx="5740219" cy="49100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599502084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04B2E83-63B7-1F5F-351E-24B7FCC7D5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6543" y="6537999"/>
            <a:ext cx="5226261" cy="205613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6" name="Rounded Rectangle 1">
            <a:extLst>
              <a:ext uri="{FF2B5EF4-FFF2-40B4-BE49-F238E27FC236}">
                <a16:creationId xmlns:a16="http://schemas.microsoft.com/office/drawing/2014/main" id="{8EC8DB0D-9858-B869-B0E8-460E0971E0FC}"/>
              </a:ext>
            </a:extLst>
          </p:cNvPr>
          <p:cNvSpPr/>
          <p:nvPr/>
        </p:nvSpPr>
        <p:spPr>
          <a:xfrm>
            <a:off x="1783645" y="1394291"/>
            <a:ext cx="5576712" cy="1210738"/>
          </a:xfrm>
          <a:custGeom>
            <a:avLst/>
            <a:gdLst/>
            <a:ahLst/>
            <a:cxnLst/>
            <a:rect l="0" t="0" r="0" b="0"/>
            <a:pathLst>
              <a:path w="5576711" h="1247422">
                <a:moveTo>
                  <a:pt x="3008488" y="1100666"/>
                </a:moveTo>
                <a:lnTo>
                  <a:pt x="2751666" y="990600"/>
                </a:lnTo>
                <a:lnTo>
                  <a:pt x="2788355" y="880533"/>
                </a:lnTo>
                <a:lnTo>
                  <a:pt x="2641600" y="733777"/>
                </a:lnTo>
                <a:lnTo>
                  <a:pt x="2735945" y="660400"/>
                </a:lnTo>
                <a:lnTo>
                  <a:pt x="2971800" y="476955"/>
                </a:lnTo>
                <a:lnTo>
                  <a:pt x="2885929" y="104765"/>
                </a:lnTo>
                <a:lnTo>
                  <a:pt x="3207831" y="337011"/>
                </a:lnTo>
                <a:cubicBezTo>
                  <a:pt x="3249143" y="409704"/>
                  <a:pt x="3357033" y="587022"/>
                  <a:pt x="3357033" y="587022"/>
                </a:cubicBezTo>
                <a:lnTo>
                  <a:pt x="3468090" y="660400"/>
                </a:lnTo>
                <a:lnTo>
                  <a:pt x="3528248" y="700146"/>
                </a:lnTo>
                <a:lnTo>
                  <a:pt x="3625375" y="951073"/>
                </a:lnTo>
                <a:cubicBezTo>
                  <a:pt x="3625375" y="951073"/>
                  <a:pt x="3689067" y="1053240"/>
                  <a:pt x="3719464" y="1100666"/>
                </a:cubicBezTo>
                <a:lnTo>
                  <a:pt x="3805689" y="1100666"/>
                </a:lnTo>
                <a:lnTo>
                  <a:pt x="3693874" y="924761"/>
                </a:lnTo>
                <a:lnTo>
                  <a:pt x="3595511" y="660400"/>
                </a:lnTo>
                <a:lnTo>
                  <a:pt x="3402894" y="528931"/>
                </a:lnTo>
                <a:lnTo>
                  <a:pt x="3263733" y="286858"/>
                </a:lnTo>
                <a:lnTo>
                  <a:pt x="2866129" y="0"/>
                </a:lnTo>
                <a:lnTo>
                  <a:pt x="2725764" y="217901"/>
                </a:lnTo>
                <a:lnTo>
                  <a:pt x="2535685" y="327423"/>
                </a:lnTo>
                <a:lnTo>
                  <a:pt x="2414673" y="587022"/>
                </a:lnTo>
                <a:lnTo>
                  <a:pt x="2378565" y="660400"/>
                </a:lnTo>
                <a:lnTo>
                  <a:pt x="2248503" y="924761"/>
                </a:lnTo>
                <a:lnTo>
                  <a:pt x="1958471" y="1037072"/>
                </a:lnTo>
                <a:lnTo>
                  <a:pt x="1922008" y="1100666"/>
                </a:lnTo>
                <a:lnTo>
                  <a:pt x="1879926" y="1247422"/>
                </a:lnTo>
                <a:lnTo>
                  <a:pt x="3852314" y="1247422"/>
                </a:lnTo>
                <a:lnTo>
                  <a:pt x="3805677" y="1100666"/>
                </a:lnTo>
                <a:lnTo>
                  <a:pt x="3719464" y="1100666"/>
                </a:lnTo>
                <a:moveTo>
                  <a:pt x="2174122" y="660400"/>
                </a:moveTo>
                <a:lnTo>
                  <a:pt x="0" y="660400"/>
                </a:lnTo>
                <a:lnTo>
                  <a:pt x="0" y="1100666"/>
                </a:lnTo>
                <a:lnTo>
                  <a:pt x="1673050" y="1100666"/>
                </a:lnTo>
                <a:cubicBezTo>
                  <a:pt x="1677837" y="1096227"/>
                  <a:pt x="1682900" y="1092014"/>
                  <a:pt x="1688226" y="1088051"/>
                </a:cubicBezTo>
                <a:lnTo>
                  <a:pt x="1739780" y="1049681"/>
                </a:lnTo>
                <a:lnTo>
                  <a:pt x="1799333" y="945827"/>
                </a:lnTo>
                <a:cubicBezTo>
                  <a:pt x="1820239" y="909364"/>
                  <a:pt x="1853033" y="881187"/>
                  <a:pt x="1892229" y="866004"/>
                </a:cubicBezTo>
                <a:lnTo>
                  <a:pt x="2115505" y="779547"/>
                </a:lnTo>
                <a:lnTo>
                  <a:pt x="2174122" y="660400"/>
                </a:lnTo>
                <a:moveTo>
                  <a:pt x="4025290" y="1100666"/>
                </a:moveTo>
                <a:lnTo>
                  <a:pt x="3858338" y="841343"/>
                </a:lnTo>
                <a:lnTo>
                  <a:pt x="3788824" y="660400"/>
                </a:lnTo>
                <a:lnTo>
                  <a:pt x="5576711" y="660400"/>
                </a:lnTo>
                <a:lnTo>
                  <a:pt x="5576711" y="1100666"/>
                </a:lnTo>
                <a:lnTo>
                  <a:pt x="4025290" y="1100666"/>
                </a:lnTo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7" name="Rounded Rectangle 2">
            <a:extLst>
              <a:ext uri="{FF2B5EF4-FFF2-40B4-BE49-F238E27FC236}">
                <a16:creationId xmlns:a16="http://schemas.microsoft.com/office/drawing/2014/main" id="{6F88A327-57EC-FD8E-0C88-EAFD1D038659}"/>
              </a:ext>
            </a:extLst>
          </p:cNvPr>
          <p:cNvSpPr/>
          <p:nvPr/>
        </p:nvSpPr>
        <p:spPr>
          <a:xfrm>
            <a:off x="1783645" y="1357607"/>
            <a:ext cx="5576711" cy="1247422"/>
          </a:xfrm>
          <a:custGeom>
            <a:avLst/>
            <a:gdLst/>
            <a:ahLst/>
            <a:cxnLst/>
            <a:rect l="0" t="0" r="0" b="0"/>
            <a:pathLst>
              <a:path w="5576711" h="1247422">
                <a:moveTo>
                  <a:pt x="3595509" y="660400"/>
                </a:moveTo>
                <a:lnTo>
                  <a:pt x="3402893" y="528931"/>
                </a:lnTo>
                <a:lnTo>
                  <a:pt x="3263732" y="286858"/>
                </a:lnTo>
                <a:lnTo>
                  <a:pt x="2866132" y="0"/>
                </a:lnTo>
                <a:lnTo>
                  <a:pt x="2725766" y="217902"/>
                </a:lnTo>
                <a:lnTo>
                  <a:pt x="2535684" y="327421"/>
                </a:lnTo>
                <a:lnTo>
                  <a:pt x="2414675" y="587022"/>
                </a:lnTo>
                <a:lnTo>
                  <a:pt x="2414668" y="587022"/>
                </a:lnTo>
                <a:lnTo>
                  <a:pt x="2378567" y="660400"/>
                </a:lnTo>
                <a:moveTo>
                  <a:pt x="2735941" y="660400"/>
                </a:moveTo>
                <a:lnTo>
                  <a:pt x="2971798" y="476955"/>
                </a:lnTo>
                <a:lnTo>
                  <a:pt x="2885930" y="104763"/>
                </a:lnTo>
                <a:lnTo>
                  <a:pt x="3207833" y="337009"/>
                </a:lnTo>
                <a:cubicBezTo>
                  <a:pt x="3249140" y="409705"/>
                  <a:pt x="3357031" y="587022"/>
                  <a:pt x="3357031" y="587022"/>
                </a:cubicBezTo>
                <a:lnTo>
                  <a:pt x="3468089" y="660400"/>
                </a:lnTo>
                <a:moveTo>
                  <a:pt x="2174124" y="660400"/>
                </a:moveTo>
                <a:lnTo>
                  <a:pt x="0" y="660400"/>
                </a:lnTo>
                <a:lnTo>
                  <a:pt x="0" y="1100666"/>
                </a:lnTo>
                <a:lnTo>
                  <a:pt x="1673048" y="1100666"/>
                </a:lnTo>
                <a:cubicBezTo>
                  <a:pt x="1677839" y="1096229"/>
                  <a:pt x="1682901" y="1092016"/>
                  <a:pt x="1688226" y="1088052"/>
                </a:cubicBezTo>
                <a:lnTo>
                  <a:pt x="1739783" y="1049680"/>
                </a:lnTo>
                <a:lnTo>
                  <a:pt x="1799331" y="945825"/>
                </a:lnTo>
                <a:cubicBezTo>
                  <a:pt x="1820238" y="909362"/>
                  <a:pt x="1853032" y="881185"/>
                  <a:pt x="1892228" y="866006"/>
                </a:cubicBezTo>
                <a:lnTo>
                  <a:pt x="2115506" y="779545"/>
                </a:lnTo>
                <a:close/>
                <a:moveTo>
                  <a:pt x="4025292" y="1100666"/>
                </a:moveTo>
                <a:lnTo>
                  <a:pt x="3858339" y="841341"/>
                </a:lnTo>
                <a:lnTo>
                  <a:pt x="3788821" y="660400"/>
                </a:lnTo>
                <a:lnTo>
                  <a:pt x="5576711" y="660400"/>
                </a:lnTo>
                <a:lnTo>
                  <a:pt x="5576711" y="1100666"/>
                </a:lnTo>
                <a:close/>
                <a:moveTo>
                  <a:pt x="3595511" y="660400"/>
                </a:moveTo>
                <a:lnTo>
                  <a:pt x="3693872" y="924761"/>
                </a:lnTo>
                <a:lnTo>
                  <a:pt x="3805687" y="1100666"/>
                </a:lnTo>
                <a:moveTo>
                  <a:pt x="1922008" y="1100666"/>
                </a:moveTo>
                <a:lnTo>
                  <a:pt x="1958471" y="1037072"/>
                </a:lnTo>
                <a:lnTo>
                  <a:pt x="2248505" y="924761"/>
                </a:lnTo>
                <a:lnTo>
                  <a:pt x="2378568" y="660400"/>
                </a:lnTo>
                <a:moveTo>
                  <a:pt x="2735943" y="660400"/>
                </a:moveTo>
                <a:lnTo>
                  <a:pt x="2641600" y="733777"/>
                </a:lnTo>
                <a:lnTo>
                  <a:pt x="2788355" y="880533"/>
                </a:lnTo>
                <a:lnTo>
                  <a:pt x="2751666" y="990600"/>
                </a:lnTo>
                <a:lnTo>
                  <a:pt x="3008488" y="1100666"/>
                </a:lnTo>
                <a:lnTo>
                  <a:pt x="3719467" y="1100666"/>
                </a:lnTo>
                <a:cubicBezTo>
                  <a:pt x="3689067" y="1053238"/>
                  <a:pt x="3625375" y="951075"/>
                  <a:pt x="3625375" y="951075"/>
                </a:cubicBezTo>
                <a:lnTo>
                  <a:pt x="3528248" y="700146"/>
                </a:lnTo>
                <a:lnTo>
                  <a:pt x="3468091" y="660400"/>
                </a:lnTo>
                <a:moveTo>
                  <a:pt x="3719455" y="1100666"/>
                </a:moveTo>
                <a:lnTo>
                  <a:pt x="3008476" y="1100666"/>
                </a:lnTo>
                <a:moveTo>
                  <a:pt x="1921996" y="1100666"/>
                </a:moveTo>
                <a:lnTo>
                  <a:pt x="1879923" y="1247422"/>
                </a:lnTo>
                <a:lnTo>
                  <a:pt x="3852318" y="1247422"/>
                </a:lnTo>
                <a:lnTo>
                  <a:pt x="3805674" y="1100666"/>
                </a:lnTo>
              </a:path>
            </a:pathLst>
          </a:custGeom>
          <a:solidFill>
            <a:schemeClr val="accent2"/>
          </a:solidFill>
          <a:ln w="9171">
            <a:solidFill>
              <a:srgbClr val="FFFFFF"/>
            </a:solidFill>
          </a:ln>
        </p:spPr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8" name="Rounded Rectangle 3">
            <a:extLst>
              <a:ext uri="{FF2B5EF4-FFF2-40B4-BE49-F238E27FC236}">
                <a16:creationId xmlns:a16="http://schemas.microsoft.com/office/drawing/2014/main" id="{BC86D089-4B3C-3E6B-72D3-8C8BE8DC3D6B}"/>
              </a:ext>
            </a:extLst>
          </p:cNvPr>
          <p:cNvSpPr/>
          <p:nvPr/>
        </p:nvSpPr>
        <p:spPr>
          <a:xfrm>
            <a:off x="1636889" y="2605029"/>
            <a:ext cx="5870222" cy="6114"/>
          </a:xfrm>
          <a:custGeom>
            <a:avLst/>
            <a:gdLst/>
            <a:ahLst/>
            <a:cxnLst/>
            <a:rect l="0" t="0" r="0" b="0"/>
            <a:pathLst>
              <a:path w="5870222" h="6114">
                <a:moveTo>
                  <a:pt x="2030118" y="0"/>
                </a:moveTo>
                <a:lnTo>
                  <a:pt x="0" y="0"/>
                </a:lnTo>
                <a:moveTo>
                  <a:pt x="5870222" y="0"/>
                </a:moveTo>
                <a:lnTo>
                  <a:pt x="3999088" y="0"/>
                </a:lnTo>
              </a:path>
            </a:pathLst>
          </a:custGeom>
          <a:solidFill>
            <a:schemeClr val="accent2"/>
          </a:solidFill>
          <a:ln w="9171">
            <a:solidFill>
              <a:srgbClr val="484848"/>
            </a:solidFill>
            <a:prstDash val="dash"/>
          </a:ln>
        </p:spPr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9" name="Rounded Rectangle 4">
            <a:extLst>
              <a:ext uri="{FF2B5EF4-FFF2-40B4-BE49-F238E27FC236}">
                <a16:creationId xmlns:a16="http://schemas.microsoft.com/office/drawing/2014/main" id="{44B3521E-20B3-840F-E02C-5602BD2BC2B3}"/>
              </a:ext>
            </a:extLst>
          </p:cNvPr>
          <p:cNvSpPr/>
          <p:nvPr/>
        </p:nvSpPr>
        <p:spPr>
          <a:xfrm>
            <a:off x="1783645" y="2605029"/>
            <a:ext cx="5576711" cy="660400"/>
          </a:xfrm>
          <a:custGeom>
            <a:avLst/>
            <a:gdLst/>
            <a:ahLst/>
            <a:cxnLst/>
            <a:rect l="0" t="0" r="0" b="0"/>
            <a:pathLst>
              <a:path w="5576711" h="660400">
                <a:moveTo>
                  <a:pt x="1797131" y="146755"/>
                </a:moveTo>
                <a:lnTo>
                  <a:pt x="1878593" y="0"/>
                </a:lnTo>
                <a:lnTo>
                  <a:pt x="3852327" y="0"/>
                </a:lnTo>
                <a:lnTo>
                  <a:pt x="3900181" y="146755"/>
                </a:lnTo>
                <a:lnTo>
                  <a:pt x="4010829" y="316417"/>
                </a:lnTo>
                <a:lnTo>
                  <a:pt x="3772021" y="587022"/>
                </a:lnTo>
                <a:lnTo>
                  <a:pt x="3704954" y="660400"/>
                </a:lnTo>
                <a:lnTo>
                  <a:pt x="1976791" y="660400"/>
                </a:lnTo>
                <a:lnTo>
                  <a:pt x="1951127" y="587022"/>
                </a:lnTo>
                <a:lnTo>
                  <a:pt x="1797137" y="146755"/>
                </a:lnTo>
                <a:moveTo>
                  <a:pt x="1614708" y="146755"/>
                </a:moveTo>
                <a:lnTo>
                  <a:pt x="0" y="146755"/>
                </a:lnTo>
                <a:lnTo>
                  <a:pt x="0" y="587022"/>
                </a:lnTo>
                <a:lnTo>
                  <a:pt x="1750029" y="587022"/>
                </a:lnTo>
                <a:lnTo>
                  <a:pt x="1623049" y="190488"/>
                </a:lnTo>
                <a:cubicBezTo>
                  <a:pt x="1618432" y="176069"/>
                  <a:pt x="1615680" y="161394"/>
                  <a:pt x="1614708" y="146755"/>
                </a:cubicBezTo>
                <a:moveTo>
                  <a:pt x="4017256" y="587022"/>
                </a:moveTo>
                <a:lnTo>
                  <a:pt x="4148632" y="437502"/>
                </a:lnTo>
                <a:cubicBezTo>
                  <a:pt x="4202712" y="375957"/>
                  <a:pt x="4209426" y="286008"/>
                  <a:pt x="4165069" y="217118"/>
                </a:cubicBezTo>
                <a:lnTo>
                  <a:pt x="4119770" y="146755"/>
                </a:lnTo>
                <a:lnTo>
                  <a:pt x="5576711" y="146755"/>
                </a:lnTo>
                <a:lnTo>
                  <a:pt x="5576711" y="587022"/>
                </a:lnTo>
                <a:lnTo>
                  <a:pt x="4017256" y="587022"/>
                </a:lnTo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11" name="Rounded Rectangle 5">
            <a:extLst>
              <a:ext uri="{FF2B5EF4-FFF2-40B4-BE49-F238E27FC236}">
                <a16:creationId xmlns:a16="http://schemas.microsoft.com/office/drawing/2014/main" id="{7A444444-983A-C280-F624-378D0C73FE19}"/>
              </a:ext>
            </a:extLst>
          </p:cNvPr>
          <p:cNvSpPr/>
          <p:nvPr/>
        </p:nvSpPr>
        <p:spPr>
          <a:xfrm>
            <a:off x="1783645" y="2605029"/>
            <a:ext cx="5576711" cy="660401"/>
          </a:xfrm>
          <a:custGeom>
            <a:avLst/>
            <a:gdLst/>
            <a:ahLst/>
            <a:cxnLst/>
            <a:rect l="0" t="0" r="0" b="0"/>
            <a:pathLst>
              <a:path w="5576711" h="660401">
                <a:moveTo>
                  <a:pt x="3772016" y="587022"/>
                </a:moveTo>
                <a:lnTo>
                  <a:pt x="3704953" y="660401"/>
                </a:lnTo>
                <a:lnTo>
                  <a:pt x="1976793" y="660401"/>
                </a:lnTo>
                <a:lnTo>
                  <a:pt x="1951127" y="587022"/>
                </a:lnTo>
                <a:moveTo>
                  <a:pt x="1797134" y="146755"/>
                </a:moveTo>
                <a:lnTo>
                  <a:pt x="1878591" y="0"/>
                </a:lnTo>
                <a:lnTo>
                  <a:pt x="3852329" y="0"/>
                </a:lnTo>
                <a:lnTo>
                  <a:pt x="3900181" y="146755"/>
                </a:lnTo>
                <a:moveTo>
                  <a:pt x="1614705" y="146755"/>
                </a:moveTo>
                <a:lnTo>
                  <a:pt x="0" y="146755"/>
                </a:lnTo>
                <a:lnTo>
                  <a:pt x="0" y="587022"/>
                </a:lnTo>
                <a:lnTo>
                  <a:pt x="1750032" y="587022"/>
                </a:lnTo>
                <a:lnTo>
                  <a:pt x="1623049" y="190490"/>
                </a:lnTo>
                <a:cubicBezTo>
                  <a:pt x="1618432" y="176070"/>
                  <a:pt x="1615683" y="161392"/>
                  <a:pt x="1614705" y="146755"/>
                </a:cubicBezTo>
                <a:close/>
                <a:moveTo>
                  <a:pt x="4017256" y="587022"/>
                </a:moveTo>
                <a:lnTo>
                  <a:pt x="4148633" y="437505"/>
                </a:lnTo>
                <a:cubicBezTo>
                  <a:pt x="4202714" y="375956"/>
                  <a:pt x="4209423" y="286008"/>
                  <a:pt x="4165072" y="217118"/>
                </a:cubicBezTo>
                <a:lnTo>
                  <a:pt x="4119773" y="146755"/>
                </a:lnTo>
                <a:lnTo>
                  <a:pt x="5576711" y="146755"/>
                </a:lnTo>
                <a:lnTo>
                  <a:pt x="5576711" y="587022"/>
                </a:lnTo>
                <a:lnTo>
                  <a:pt x="4017256" y="587022"/>
                </a:lnTo>
                <a:close/>
                <a:moveTo>
                  <a:pt x="1797138" y="146756"/>
                </a:moveTo>
                <a:lnTo>
                  <a:pt x="1951131" y="587022"/>
                </a:lnTo>
                <a:moveTo>
                  <a:pt x="3900185" y="146756"/>
                </a:moveTo>
                <a:lnTo>
                  <a:pt x="4010829" y="316419"/>
                </a:lnTo>
                <a:lnTo>
                  <a:pt x="3772020" y="587022"/>
                </a:lnTo>
              </a:path>
            </a:pathLst>
          </a:custGeom>
          <a:solidFill>
            <a:schemeClr val="accent2"/>
          </a:solidFill>
          <a:ln w="9171">
            <a:solidFill>
              <a:srgbClr val="FFFFFF"/>
            </a:solidFill>
          </a:ln>
        </p:spPr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dirty="0"/>
          </a:p>
        </p:txBody>
      </p:sp>
      <p:sp>
        <p:nvSpPr>
          <p:cNvPr id="12" name="Rounded Rectangle 6">
            <a:extLst>
              <a:ext uri="{FF2B5EF4-FFF2-40B4-BE49-F238E27FC236}">
                <a16:creationId xmlns:a16="http://schemas.microsoft.com/office/drawing/2014/main" id="{2DD6B02B-DA8B-9660-FE9C-CD3ABEB1DF8E}"/>
              </a:ext>
            </a:extLst>
          </p:cNvPr>
          <p:cNvSpPr/>
          <p:nvPr/>
        </p:nvSpPr>
        <p:spPr>
          <a:xfrm>
            <a:off x="1783645" y="3265429"/>
            <a:ext cx="5576711" cy="660400"/>
          </a:xfrm>
          <a:custGeom>
            <a:avLst/>
            <a:gdLst/>
            <a:ahLst/>
            <a:cxnLst/>
            <a:rect l="0" t="0" r="0" b="0"/>
            <a:pathLst>
              <a:path w="5576711" h="660400">
                <a:moveTo>
                  <a:pt x="3469264" y="587022"/>
                </a:moveTo>
                <a:lnTo>
                  <a:pt x="3441803" y="660400"/>
                </a:lnTo>
                <a:lnTo>
                  <a:pt x="2140558" y="660400"/>
                </a:lnTo>
                <a:lnTo>
                  <a:pt x="2127405" y="587022"/>
                </a:lnTo>
                <a:lnTo>
                  <a:pt x="2090092" y="344086"/>
                </a:lnTo>
                <a:lnTo>
                  <a:pt x="2003745" y="73377"/>
                </a:lnTo>
                <a:lnTo>
                  <a:pt x="1976448" y="0"/>
                </a:lnTo>
                <a:lnTo>
                  <a:pt x="3706232" y="0"/>
                </a:lnTo>
                <a:lnTo>
                  <a:pt x="3641378" y="73377"/>
                </a:lnTo>
                <a:lnTo>
                  <a:pt x="3517504" y="436634"/>
                </a:lnTo>
                <a:lnTo>
                  <a:pt x="3469270" y="587022"/>
                </a:lnTo>
                <a:moveTo>
                  <a:pt x="1808358" y="73377"/>
                </a:moveTo>
                <a:lnTo>
                  <a:pt x="0" y="73377"/>
                </a:lnTo>
                <a:lnTo>
                  <a:pt x="0" y="587022"/>
                </a:lnTo>
                <a:lnTo>
                  <a:pt x="1940921" y="587022"/>
                </a:lnTo>
                <a:lnTo>
                  <a:pt x="1912389" y="400550"/>
                </a:lnTo>
                <a:lnTo>
                  <a:pt x="1808358" y="73377"/>
                </a:lnTo>
                <a:moveTo>
                  <a:pt x="3665134" y="587022"/>
                </a:moveTo>
                <a:lnTo>
                  <a:pt x="3689312" y="511638"/>
                </a:lnTo>
                <a:cubicBezTo>
                  <a:pt x="3689526" y="510972"/>
                  <a:pt x="3689734" y="510311"/>
                  <a:pt x="3689942" y="509645"/>
                </a:cubicBezTo>
                <a:lnTo>
                  <a:pt x="3777488" y="228235"/>
                </a:lnTo>
                <a:lnTo>
                  <a:pt x="3845472" y="125641"/>
                </a:lnTo>
                <a:lnTo>
                  <a:pt x="3886411" y="73377"/>
                </a:lnTo>
                <a:lnTo>
                  <a:pt x="5576711" y="73377"/>
                </a:lnTo>
                <a:lnTo>
                  <a:pt x="5576711" y="587022"/>
                </a:lnTo>
                <a:lnTo>
                  <a:pt x="3665134" y="587022"/>
                </a:lnTo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13" name="Rounded Rectangle 7">
            <a:extLst>
              <a:ext uri="{FF2B5EF4-FFF2-40B4-BE49-F238E27FC236}">
                <a16:creationId xmlns:a16="http://schemas.microsoft.com/office/drawing/2014/main" id="{353DF8B5-25C1-0DF7-8B61-40A06AF74BD9}"/>
              </a:ext>
            </a:extLst>
          </p:cNvPr>
          <p:cNvSpPr/>
          <p:nvPr/>
        </p:nvSpPr>
        <p:spPr>
          <a:xfrm>
            <a:off x="1783645" y="3265429"/>
            <a:ext cx="5576711" cy="660401"/>
          </a:xfrm>
          <a:custGeom>
            <a:avLst/>
            <a:gdLst/>
            <a:ahLst/>
            <a:cxnLst/>
            <a:rect l="0" t="0" r="0" b="0"/>
            <a:pathLst>
              <a:path w="5576711" h="660401">
                <a:moveTo>
                  <a:pt x="3641377" y="73375"/>
                </a:moveTo>
                <a:lnTo>
                  <a:pt x="3706231" y="0"/>
                </a:lnTo>
                <a:lnTo>
                  <a:pt x="1976446" y="0"/>
                </a:lnTo>
                <a:lnTo>
                  <a:pt x="2003752" y="73375"/>
                </a:lnTo>
                <a:moveTo>
                  <a:pt x="1808356" y="73377"/>
                </a:moveTo>
                <a:lnTo>
                  <a:pt x="0" y="73377"/>
                </a:lnTo>
                <a:lnTo>
                  <a:pt x="0" y="587022"/>
                </a:lnTo>
                <a:lnTo>
                  <a:pt x="1940921" y="587022"/>
                </a:lnTo>
                <a:lnTo>
                  <a:pt x="1912390" y="400552"/>
                </a:lnTo>
                <a:lnTo>
                  <a:pt x="1808356" y="73377"/>
                </a:lnTo>
                <a:close/>
                <a:moveTo>
                  <a:pt x="3665134" y="587022"/>
                </a:moveTo>
                <a:lnTo>
                  <a:pt x="3689314" y="511636"/>
                </a:lnTo>
                <a:cubicBezTo>
                  <a:pt x="3689527" y="510973"/>
                  <a:pt x="3689736" y="510310"/>
                  <a:pt x="3689943" y="509644"/>
                </a:cubicBezTo>
                <a:lnTo>
                  <a:pt x="3777489" y="228233"/>
                </a:lnTo>
                <a:lnTo>
                  <a:pt x="3845469" y="125641"/>
                </a:lnTo>
                <a:lnTo>
                  <a:pt x="3886411" y="73377"/>
                </a:lnTo>
                <a:lnTo>
                  <a:pt x="5576711" y="73377"/>
                </a:lnTo>
                <a:lnTo>
                  <a:pt x="5576711" y="587022"/>
                </a:lnTo>
                <a:lnTo>
                  <a:pt x="3665134" y="587022"/>
                </a:lnTo>
                <a:close/>
                <a:moveTo>
                  <a:pt x="3641372" y="73377"/>
                </a:moveTo>
                <a:lnTo>
                  <a:pt x="3517505" y="436632"/>
                </a:lnTo>
                <a:lnTo>
                  <a:pt x="3469268" y="587022"/>
                </a:lnTo>
                <a:moveTo>
                  <a:pt x="2003747" y="73377"/>
                </a:moveTo>
                <a:lnTo>
                  <a:pt x="2090094" y="344084"/>
                </a:lnTo>
                <a:lnTo>
                  <a:pt x="2127409" y="587022"/>
                </a:lnTo>
                <a:moveTo>
                  <a:pt x="2127406" y="587022"/>
                </a:moveTo>
                <a:lnTo>
                  <a:pt x="2140555" y="660401"/>
                </a:lnTo>
                <a:lnTo>
                  <a:pt x="3441805" y="660401"/>
                </a:lnTo>
                <a:lnTo>
                  <a:pt x="3469264" y="587022"/>
                </a:lnTo>
              </a:path>
            </a:pathLst>
          </a:custGeom>
          <a:solidFill>
            <a:schemeClr val="accent2"/>
          </a:solidFill>
          <a:ln w="9171">
            <a:solidFill>
              <a:srgbClr val="FFFFFF"/>
            </a:solidFill>
          </a:ln>
        </p:spPr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14" name="Rounded Rectangle 8">
            <a:extLst>
              <a:ext uri="{FF2B5EF4-FFF2-40B4-BE49-F238E27FC236}">
                <a16:creationId xmlns:a16="http://schemas.microsoft.com/office/drawing/2014/main" id="{FD5718AE-C90B-0485-668A-ABB45B88112B}"/>
              </a:ext>
            </a:extLst>
          </p:cNvPr>
          <p:cNvSpPr/>
          <p:nvPr/>
        </p:nvSpPr>
        <p:spPr>
          <a:xfrm>
            <a:off x="1783645" y="3925829"/>
            <a:ext cx="5576711" cy="660400"/>
          </a:xfrm>
          <a:custGeom>
            <a:avLst/>
            <a:gdLst/>
            <a:ahLst/>
            <a:cxnLst/>
            <a:rect l="0" t="0" r="0" b="0"/>
            <a:pathLst>
              <a:path w="5576711" h="660400">
                <a:moveTo>
                  <a:pt x="3443368" y="0"/>
                </a:moveTo>
                <a:lnTo>
                  <a:pt x="3432514" y="74111"/>
                </a:lnTo>
                <a:lnTo>
                  <a:pt x="2152427" y="73377"/>
                </a:lnTo>
                <a:lnTo>
                  <a:pt x="2140374" y="0"/>
                </a:lnTo>
                <a:lnTo>
                  <a:pt x="3443368" y="0"/>
                </a:lnTo>
                <a:moveTo>
                  <a:pt x="3362414" y="585236"/>
                </a:moveTo>
                <a:lnTo>
                  <a:pt x="3432502" y="74233"/>
                </a:lnTo>
                <a:lnTo>
                  <a:pt x="2152414" y="73377"/>
                </a:lnTo>
                <a:lnTo>
                  <a:pt x="2274711" y="497849"/>
                </a:lnTo>
                <a:lnTo>
                  <a:pt x="2274711" y="660400"/>
                </a:lnTo>
                <a:lnTo>
                  <a:pt x="3350429" y="660400"/>
                </a:lnTo>
                <a:lnTo>
                  <a:pt x="3362414" y="585493"/>
                </a:lnTo>
                <a:moveTo>
                  <a:pt x="1992212" y="189057"/>
                </a:moveTo>
                <a:cubicBezTo>
                  <a:pt x="1981340" y="166365"/>
                  <a:pt x="1974002" y="141356"/>
                  <a:pt x="1970762" y="115154"/>
                </a:cubicBezTo>
                <a:lnTo>
                  <a:pt x="1965601" y="73377"/>
                </a:lnTo>
                <a:lnTo>
                  <a:pt x="0" y="73377"/>
                </a:lnTo>
                <a:lnTo>
                  <a:pt x="0" y="587022"/>
                </a:lnTo>
                <a:lnTo>
                  <a:pt x="2091266" y="587022"/>
                </a:lnTo>
                <a:lnTo>
                  <a:pt x="2091266" y="532857"/>
                </a:lnTo>
                <a:lnTo>
                  <a:pt x="1992212" y="189057"/>
                </a:lnTo>
                <a:moveTo>
                  <a:pt x="3547950" y="587022"/>
                </a:moveTo>
                <a:lnTo>
                  <a:pt x="5576711" y="587022"/>
                </a:lnTo>
                <a:lnTo>
                  <a:pt x="5576711" y="73377"/>
                </a:lnTo>
                <a:lnTo>
                  <a:pt x="3618013" y="73377"/>
                </a:lnTo>
                <a:lnTo>
                  <a:pt x="3614014" y="105242"/>
                </a:lnTo>
                <a:cubicBezTo>
                  <a:pt x="3613898" y="106177"/>
                  <a:pt x="3613776" y="107119"/>
                  <a:pt x="3613647" y="108054"/>
                </a:cubicBezTo>
                <a:lnTo>
                  <a:pt x="3547950" y="587022"/>
                </a:lnTo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15" name="Rounded Rectangle 9">
            <a:extLst>
              <a:ext uri="{FF2B5EF4-FFF2-40B4-BE49-F238E27FC236}">
                <a16:creationId xmlns:a16="http://schemas.microsoft.com/office/drawing/2014/main" id="{EFDF000A-915D-4D59-9D24-42BA3F12B255}"/>
              </a:ext>
            </a:extLst>
          </p:cNvPr>
          <p:cNvSpPr/>
          <p:nvPr/>
        </p:nvSpPr>
        <p:spPr>
          <a:xfrm>
            <a:off x="1783645" y="3925829"/>
            <a:ext cx="5576711" cy="660400"/>
          </a:xfrm>
          <a:custGeom>
            <a:avLst/>
            <a:gdLst/>
            <a:ahLst/>
            <a:cxnLst/>
            <a:rect l="0" t="0" r="0" b="0"/>
            <a:pathLst>
              <a:path w="5576711" h="660400">
                <a:moveTo>
                  <a:pt x="2152426" y="73377"/>
                </a:moveTo>
                <a:lnTo>
                  <a:pt x="2140376" y="0"/>
                </a:lnTo>
                <a:lnTo>
                  <a:pt x="3443368" y="0"/>
                </a:lnTo>
                <a:lnTo>
                  <a:pt x="3432516" y="74113"/>
                </a:lnTo>
                <a:moveTo>
                  <a:pt x="1992214" y="189054"/>
                </a:moveTo>
                <a:cubicBezTo>
                  <a:pt x="1981341" y="166366"/>
                  <a:pt x="1974002" y="141353"/>
                  <a:pt x="1970764" y="115154"/>
                </a:cubicBezTo>
                <a:lnTo>
                  <a:pt x="1965602" y="73378"/>
                </a:lnTo>
                <a:lnTo>
                  <a:pt x="0" y="73378"/>
                </a:lnTo>
                <a:lnTo>
                  <a:pt x="0" y="587022"/>
                </a:lnTo>
                <a:lnTo>
                  <a:pt x="2091267" y="587022"/>
                </a:lnTo>
                <a:lnTo>
                  <a:pt x="2091267" y="532855"/>
                </a:lnTo>
                <a:lnTo>
                  <a:pt x="1992214" y="189054"/>
                </a:lnTo>
                <a:close/>
                <a:moveTo>
                  <a:pt x="3547951" y="587022"/>
                </a:moveTo>
                <a:lnTo>
                  <a:pt x="5576711" y="587022"/>
                </a:lnTo>
                <a:lnTo>
                  <a:pt x="5576711" y="73378"/>
                </a:lnTo>
                <a:lnTo>
                  <a:pt x="3618014" y="73378"/>
                </a:lnTo>
                <a:lnTo>
                  <a:pt x="3614014" y="105243"/>
                </a:lnTo>
                <a:cubicBezTo>
                  <a:pt x="3613896" y="106180"/>
                  <a:pt x="3613774" y="107117"/>
                  <a:pt x="3613645" y="108052"/>
                </a:cubicBezTo>
                <a:lnTo>
                  <a:pt x="3547951" y="587022"/>
                </a:lnTo>
                <a:close/>
                <a:moveTo>
                  <a:pt x="2152414" y="73378"/>
                </a:moveTo>
                <a:lnTo>
                  <a:pt x="2274711" y="497848"/>
                </a:lnTo>
                <a:lnTo>
                  <a:pt x="2274711" y="585238"/>
                </a:lnTo>
                <a:moveTo>
                  <a:pt x="3362416" y="585238"/>
                </a:moveTo>
                <a:lnTo>
                  <a:pt x="3432504" y="74236"/>
                </a:lnTo>
                <a:moveTo>
                  <a:pt x="2274711" y="585493"/>
                </a:moveTo>
                <a:lnTo>
                  <a:pt x="2274711" y="660400"/>
                </a:lnTo>
                <a:lnTo>
                  <a:pt x="3350430" y="660400"/>
                </a:lnTo>
                <a:lnTo>
                  <a:pt x="3362416" y="585493"/>
                </a:lnTo>
              </a:path>
            </a:pathLst>
          </a:custGeom>
          <a:solidFill>
            <a:schemeClr val="accent2"/>
          </a:solidFill>
          <a:ln w="9171">
            <a:solidFill>
              <a:srgbClr val="FFFFFF"/>
            </a:solidFill>
          </a:ln>
        </p:spPr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16" name="Rounded Rectangle 10">
            <a:extLst>
              <a:ext uri="{FF2B5EF4-FFF2-40B4-BE49-F238E27FC236}">
                <a16:creationId xmlns:a16="http://schemas.microsoft.com/office/drawing/2014/main" id="{44AFED6A-1054-737D-43E5-F962EF30EF7A}"/>
              </a:ext>
            </a:extLst>
          </p:cNvPr>
          <p:cNvSpPr/>
          <p:nvPr/>
        </p:nvSpPr>
        <p:spPr>
          <a:xfrm>
            <a:off x="1783645" y="4586229"/>
            <a:ext cx="5576711" cy="660400"/>
          </a:xfrm>
          <a:custGeom>
            <a:avLst/>
            <a:gdLst/>
            <a:ahLst/>
            <a:cxnLst/>
            <a:rect l="0" t="0" r="0" b="0"/>
            <a:pathLst>
              <a:path w="5576711" h="660400">
                <a:moveTo>
                  <a:pt x="2450823" y="587022"/>
                </a:moveTo>
                <a:lnTo>
                  <a:pt x="2480175" y="660400"/>
                </a:lnTo>
                <a:lnTo>
                  <a:pt x="3081872" y="660400"/>
                </a:lnTo>
                <a:lnTo>
                  <a:pt x="3081872" y="587022"/>
                </a:lnTo>
                <a:lnTo>
                  <a:pt x="3338688" y="73377"/>
                </a:lnTo>
                <a:lnTo>
                  <a:pt x="3350429" y="0"/>
                </a:lnTo>
                <a:lnTo>
                  <a:pt x="2274711" y="0"/>
                </a:lnTo>
                <a:lnTo>
                  <a:pt x="2274711" y="73377"/>
                </a:lnTo>
                <a:lnTo>
                  <a:pt x="2450817" y="587022"/>
                </a:lnTo>
                <a:moveTo>
                  <a:pt x="2091266" y="73377"/>
                </a:moveTo>
                <a:lnTo>
                  <a:pt x="0" y="73377"/>
                </a:lnTo>
                <a:lnTo>
                  <a:pt x="0" y="587022"/>
                </a:lnTo>
                <a:lnTo>
                  <a:pt x="2253241" y="587022"/>
                </a:lnTo>
                <a:lnTo>
                  <a:pt x="2104389" y="152864"/>
                </a:lnTo>
                <a:cubicBezTo>
                  <a:pt x="2095718" y="127579"/>
                  <a:pt x="2091266" y="100607"/>
                  <a:pt x="2091266" y="73377"/>
                </a:cubicBezTo>
                <a:moveTo>
                  <a:pt x="3294240" y="587022"/>
                </a:moveTo>
                <a:lnTo>
                  <a:pt x="5576711" y="587022"/>
                </a:lnTo>
                <a:lnTo>
                  <a:pt x="5576711" y="73377"/>
                </a:lnTo>
                <a:lnTo>
                  <a:pt x="3524469" y="73377"/>
                </a:lnTo>
                <a:lnTo>
                  <a:pt x="3519828" y="107192"/>
                </a:lnTo>
                <a:cubicBezTo>
                  <a:pt x="3516250" y="133290"/>
                  <a:pt x="3508558" y="158385"/>
                  <a:pt x="3497148" y="181212"/>
                </a:cubicBezTo>
                <a:lnTo>
                  <a:pt x="3294240" y="587022"/>
                </a:lnTo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17" name="Rounded Rectangle 11">
            <a:extLst>
              <a:ext uri="{FF2B5EF4-FFF2-40B4-BE49-F238E27FC236}">
                <a16:creationId xmlns:a16="http://schemas.microsoft.com/office/drawing/2014/main" id="{B36F5E52-253A-200E-9E90-3F023E030C5C}"/>
              </a:ext>
            </a:extLst>
          </p:cNvPr>
          <p:cNvSpPr/>
          <p:nvPr/>
        </p:nvSpPr>
        <p:spPr>
          <a:xfrm>
            <a:off x="1783645" y="4586229"/>
            <a:ext cx="5576711" cy="660400"/>
          </a:xfrm>
          <a:custGeom>
            <a:avLst/>
            <a:gdLst/>
            <a:ahLst/>
            <a:cxnLst/>
            <a:rect l="0" t="0" r="0" b="0"/>
            <a:pathLst>
              <a:path w="5576711" h="660400">
                <a:moveTo>
                  <a:pt x="2274711" y="73377"/>
                </a:moveTo>
                <a:lnTo>
                  <a:pt x="2274711" y="0"/>
                </a:lnTo>
                <a:lnTo>
                  <a:pt x="3350430" y="0"/>
                </a:lnTo>
                <a:lnTo>
                  <a:pt x="3338688" y="73377"/>
                </a:lnTo>
                <a:moveTo>
                  <a:pt x="2091267" y="73378"/>
                </a:moveTo>
                <a:lnTo>
                  <a:pt x="0" y="73378"/>
                </a:lnTo>
                <a:lnTo>
                  <a:pt x="0" y="587022"/>
                </a:lnTo>
                <a:lnTo>
                  <a:pt x="2253243" y="587022"/>
                </a:lnTo>
                <a:lnTo>
                  <a:pt x="2104388" y="152862"/>
                </a:lnTo>
                <a:cubicBezTo>
                  <a:pt x="2095721" y="127582"/>
                  <a:pt x="2091267" y="100605"/>
                  <a:pt x="2091267" y="73378"/>
                </a:cubicBezTo>
                <a:close/>
                <a:moveTo>
                  <a:pt x="3294242" y="587022"/>
                </a:moveTo>
                <a:lnTo>
                  <a:pt x="5576711" y="587022"/>
                </a:lnTo>
                <a:lnTo>
                  <a:pt x="5576711" y="73378"/>
                </a:lnTo>
                <a:lnTo>
                  <a:pt x="3524467" y="73378"/>
                </a:lnTo>
                <a:lnTo>
                  <a:pt x="3519830" y="107194"/>
                </a:lnTo>
                <a:cubicBezTo>
                  <a:pt x="3516251" y="133290"/>
                  <a:pt x="3508559" y="158387"/>
                  <a:pt x="3497145" y="181215"/>
                </a:cubicBezTo>
                <a:lnTo>
                  <a:pt x="3294242" y="587022"/>
                </a:lnTo>
                <a:close/>
                <a:moveTo>
                  <a:pt x="3081866" y="587022"/>
                </a:moveTo>
                <a:lnTo>
                  <a:pt x="3338688" y="73378"/>
                </a:lnTo>
                <a:moveTo>
                  <a:pt x="2274711" y="73378"/>
                </a:moveTo>
                <a:lnTo>
                  <a:pt x="2450817" y="587022"/>
                </a:lnTo>
                <a:moveTo>
                  <a:pt x="3081871" y="587022"/>
                </a:moveTo>
                <a:lnTo>
                  <a:pt x="3081871" y="660400"/>
                </a:lnTo>
                <a:lnTo>
                  <a:pt x="2480173" y="660400"/>
                </a:lnTo>
                <a:lnTo>
                  <a:pt x="2450822" y="587022"/>
                </a:lnTo>
              </a:path>
            </a:pathLst>
          </a:custGeom>
          <a:solidFill>
            <a:schemeClr val="accent2"/>
          </a:solidFill>
          <a:ln w="9171">
            <a:solidFill>
              <a:srgbClr val="FFFFFF"/>
            </a:solidFill>
          </a:ln>
        </p:spPr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E9F4507-8FDE-095A-DDB7-11EF306E1B25}"/>
              </a:ext>
            </a:extLst>
          </p:cNvPr>
          <p:cNvGrpSpPr/>
          <p:nvPr/>
        </p:nvGrpSpPr>
        <p:grpSpPr>
          <a:xfrm>
            <a:off x="1783645" y="5246629"/>
            <a:ext cx="5576711" cy="733777"/>
            <a:chOff x="513644" y="4696177"/>
            <a:chExt cx="5576711" cy="733777"/>
          </a:xfrm>
          <a:solidFill>
            <a:schemeClr val="accent2"/>
          </a:solidFill>
        </p:grpSpPr>
        <p:sp>
          <p:nvSpPr>
            <p:cNvPr id="41" name="Rounded Rectangle 12">
              <a:extLst>
                <a:ext uri="{FF2B5EF4-FFF2-40B4-BE49-F238E27FC236}">
                  <a16:creationId xmlns:a16="http://schemas.microsoft.com/office/drawing/2014/main" id="{2C363CB7-134D-3290-E8EC-FC3B87F80BBA}"/>
                </a:ext>
              </a:extLst>
            </p:cNvPr>
            <p:cNvSpPr/>
            <p:nvPr/>
          </p:nvSpPr>
          <p:spPr>
            <a:xfrm>
              <a:off x="513644" y="4696177"/>
              <a:ext cx="5576711" cy="733777"/>
            </a:xfrm>
            <a:custGeom>
              <a:avLst/>
              <a:gdLst/>
              <a:ahLst/>
              <a:cxnLst/>
              <a:rect l="0" t="0" r="0" b="0"/>
              <a:pathLst>
                <a:path w="5576711" h="733777">
                  <a:moveTo>
                    <a:pt x="2678288" y="587022"/>
                  </a:moveTo>
                  <a:lnTo>
                    <a:pt x="2788355" y="733777"/>
                  </a:lnTo>
                  <a:lnTo>
                    <a:pt x="2935111" y="587022"/>
                  </a:lnTo>
                  <a:lnTo>
                    <a:pt x="3081866" y="158985"/>
                  </a:lnTo>
                  <a:lnTo>
                    <a:pt x="3081866" y="0"/>
                  </a:lnTo>
                  <a:lnTo>
                    <a:pt x="2480181" y="0"/>
                  </a:lnTo>
                  <a:lnTo>
                    <a:pt x="2509532" y="73377"/>
                  </a:lnTo>
                  <a:lnTo>
                    <a:pt x="2568222" y="244592"/>
                  </a:lnTo>
                  <a:lnTo>
                    <a:pt x="2568222" y="415807"/>
                  </a:lnTo>
                  <a:lnTo>
                    <a:pt x="2678288" y="587022"/>
                  </a:lnTo>
                  <a:moveTo>
                    <a:pt x="2311944" y="73377"/>
                  </a:moveTo>
                  <a:lnTo>
                    <a:pt x="0" y="73377"/>
                  </a:lnTo>
                  <a:lnTo>
                    <a:pt x="0" y="587022"/>
                  </a:lnTo>
                  <a:lnTo>
                    <a:pt x="2448983" y="587022"/>
                  </a:lnTo>
                  <a:lnTo>
                    <a:pt x="2421466" y="544218"/>
                  </a:lnTo>
                  <a:cubicBezTo>
                    <a:pt x="2397655" y="507174"/>
                    <a:pt x="2384777" y="462114"/>
                    <a:pt x="2384777" y="415807"/>
                  </a:cubicBezTo>
                  <a:lnTo>
                    <a:pt x="2384777" y="285806"/>
                  </a:lnTo>
                  <a:lnTo>
                    <a:pt x="2311944" y="73377"/>
                  </a:lnTo>
                  <a:moveTo>
                    <a:pt x="3132686" y="587022"/>
                  </a:moveTo>
                  <a:lnTo>
                    <a:pt x="5576711" y="587022"/>
                  </a:lnTo>
                  <a:lnTo>
                    <a:pt x="5576711" y="73377"/>
                  </a:lnTo>
                  <a:lnTo>
                    <a:pt x="3265311" y="73377"/>
                  </a:lnTo>
                  <a:lnTo>
                    <a:pt x="3265311" y="158985"/>
                  </a:lnTo>
                  <a:cubicBezTo>
                    <a:pt x="3265311" y="186214"/>
                    <a:pt x="3260859" y="213186"/>
                    <a:pt x="3252188" y="238471"/>
                  </a:cubicBezTo>
                  <a:lnTo>
                    <a:pt x="3132686" y="587022"/>
                  </a:lnTo>
                </a:path>
              </a:pathLst>
            </a:custGeom>
            <a:grpFill/>
            <a:ln>
              <a:noFill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2" name="Rounded Rectangle 13">
              <a:extLst>
                <a:ext uri="{FF2B5EF4-FFF2-40B4-BE49-F238E27FC236}">
                  <a16:creationId xmlns:a16="http://schemas.microsoft.com/office/drawing/2014/main" id="{2AF327D5-442B-7665-E478-9CC86FD8280C}"/>
                </a:ext>
              </a:extLst>
            </p:cNvPr>
            <p:cNvSpPr/>
            <p:nvPr/>
          </p:nvSpPr>
          <p:spPr>
            <a:xfrm>
              <a:off x="513644" y="4769555"/>
              <a:ext cx="5576711" cy="513644"/>
            </a:xfrm>
            <a:custGeom>
              <a:avLst/>
              <a:gdLst/>
              <a:ahLst/>
              <a:cxnLst/>
              <a:rect l="0" t="0" r="0" b="0"/>
              <a:pathLst>
                <a:path w="5576711" h="513644">
                  <a:moveTo>
                    <a:pt x="2311944" y="0"/>
                  </a:moveTo>
                  <a:lnTo>
                    <a:pt x="0" y="0"/>
                  </a:lnTo>
                  <a:lnTo>
                    <a:pt x="0" y="513644"/>
                  </a:lnTo>
                  <a:lnTo>
                    <a:pt x="2448983" y="513644"/>
                  </a:lnTo>
                  <a:lnTo>
                    <a:pt x="2421466" y="470840"/>
                  </a:lnTo>
                  <a:cubicBezTo>
                    <a:pt x="2397655" y="433797"/>
                    <a:pt x="2384777" y="388737"/>
                    <a:pt x="2384777" y="342429"/>
                  </a:cubicBezTo>
                  <a:lnTo>
                    <a:pt x="2384777" y="212428"/>
                  </a:lnTo>
                  <a:lnTo>
                    <a:pt x="2311944" y="0"/>
                  </a:lnTo>
                  <a:moveTo>
                    <a:pt x="3132686" y="513644"/>
                  </a:moveTo>
                  <a:lnTo>
                    <a:pt x="5576711" y="513644"/>
                  </a:lnTo>
                  <a:lnTo>
                    <a:pt x="5576711" y="0"/>
                  </a:lnTo>
                  <a:lnTo>
                    <a:pt x="3265311" y="0"/>
                  </a:lnTo>
                  <a:lnTo>
                    <a:pt x="3265311" y="85607"/>
                  </a:lnTo>
                  <a:cubicBezTo>
                    <a:pt x="3265311" y="112836"/>
                    <a:pt x="3260859" y="139809"/>
                    <a:pt x="3252188" y="165093"/>
                  </a:cubicBezTo>
                  <a:lnTo>
                    <a:pt x="3132686" y="513644"/>
                  </a:lnTo>
                  <a:moveTo>
                    <a:pt x="2935111" y="513644"/>
                  </a:moveTo>
                  <a:lnTo>
                    <a:pt x="3081866" y="85607"/>
                  </a:lnTo>
                  <a:lnTo>
                    <a:pt x="3081866" y="0"/>
                  </a:lnTo>
                  <a:moveTo>
                    <a:pt x="2509520" y="0"/>
                  </a:moveTo>
                  <a:lnTo>
                    <a:pt x="2568222" y="171214"/>
                  </a:lnTo>
                  <a:lnTo>
                    <a:pt x="2568222" y="342429"/>
                  </a:lnTo>
                  <a:lnTo>
                    <a:pt x="2678288" y="513644"/>
                  </a:lnTo>
                </a:path>
              </a:pathLst>
            </a:custGeom>
            <a:grpFill/>
            <a:ln>
              <a:noFill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46206F1-13BF-48DB-BC6A-E8A6C4521AB3}"/>
              </a:ext>
            </a:extLst>
          </p:cNvPr>
          <p:cNvGrpSpPr/>
          <p:nvPr/>
        </p:nvGrpSpPr>
        <p:grpSpPr>
          <a:xfrm>
            <a:off x="1783645" y="5246629"/>
            <a:ext cx="5576711" cy="733777"/>
            <a:chOff x="513644" y="4696177"/>
            <a:chExt cx="5576711" cy="733777"/>
          </a:xfrm>
          <a:solidFill>
            <a:schemeClr val="accent2"/>
          </a:solidFill>
        </p:grpSpPr>
        <p:sp>
          <p:nvSpPr>
            <p:cNvPr id="39" name="Rounded Rectangle 15">
              <a:extLst>
                <a:ext uri="{FF2B5EF4-FFF2-40B4-BE49-F238E27FC236}">
                  <a16:creationId xmlns:a16="http://schemas.microsoft.com/office/drawing/2014/main" id="{67CB03B7-05EC-A621-AB0B-D3B1A92F4864}"/>
                </a:ext>
              </a:extLst>
            </p:cNvPr>
            <p:cNvSpPr/>
            <p:nvPr/>
          </p:nvSpPr>
          <p:spPr>
            <a:xfrm>
              <a:off x="2993822" y="4696177"/>
              <a:ext cx="601697" cy="73377"/>
            </a:xfrm>
            <a:custGeom>
              <a:avLst/>
              <a:gdLst/>
              <a:ahLst/>
              <a:cxnLst/>
              <a:rect l="0" t="0" r="0" b="0"/>
              <a:pathLst>
                <a:path w="601697" h="73377">
                  <a:moveTo>
                    <a:pt x="29351" y="73377"/>
                  </a:moveTo>
                  <a:lnTo>
                    <a:pt x="0" y="0"/>
                  </a:lnTo>
                  <a:lnTo>
                    <a:pt x="601697" y="0"/>
                  </a:lnTo>
                  <a:lnTo>
                    <a:pt x="601697" y="73377"/>
                  </a:lnTo>
                </a:path>
              </a:pathLst>
            </a:custGeom>
            <a:grpFill/>
            <a:ln w="9171">
              <a:solidFill>
                <a:srgbClr val="FFFFFF"/>
              </a:solidFill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0" name="Rounded Rectangle 16">
              <a:extLst>
                <a:ext uri="{FF2B5EF4-FFF2-40B4-BE49-F238E27FC236}">
                  <a16:creationId xmlns:a16="http://schemas.microsoft.com/office/drawing/2014/main" id="{6CE5C423-FD82-313E-F660-8D2A3D24BC1C}"/>
                </a:ext>
              </a:extLst>
            </p:cNvPr>
            <p:cNvSpPr/>
            <p:nvPr/>
          </p:nvSpPr>
          <p:spPr>
            <a:xfrm>
              <a:off x="513644" y="4769555"/>
              <a:ext cx="5576711" cy="660399"/>
            </a:xfrm>
            <a:custGeom>
              <a:avLst/>
              <a:gdLst/>
              <a:ahLst/>
              <a:cxnLst/>
              <a:rect l="0" t="0" r="0" b="0"/>
              <a:pathLst>
                <a:path w="5576711" h="660399">
                  <a:moveTo>
                    <a:pt x="2311946" y="0"/>
                  </a:moveTo>
                  <a:lnTo>
                    <a:pt x="0" y="0"/>
                  </a:lnTo>
                  <a:lnTo>
                    <a:pt x="0" y="513644"/>
                  </a:lnTo>
                  <a:lnTo>
                    <a:pt x="2448984" y="513644"/>
                  </a:lnTo>
                  <a:lnTo>
                    <a:pt x="2421467" y="470840"/>
                  </a:lnTo>
                  <a:cubicBezTo>
                    <a:pt x="2397653" y="433794"/>
                    <a:pt x="2384779" y="388736"/>
                    <a:pt x="2384779" y="342429"/>
                  </a:cubicBezTo>
                  <a:lnTo>
                    <a:pt x="2384779" y="212431"/>
                  </a:lnTo>
                  <a:lnTo>
                    <a:pt x="2311946" y="0"/>
                  </a:lnTo>
                  <a:close/>
                  <a:moveTo>
                    <a:pt x="3132688" y="513644"/>
                  </a:moveTo>
                  <a:lnTo>
                    <a:pt x="5576711" y="513644"/>
                  </a:lnTo>
                  <a:lnTo>
                    <a:pt x="5576711" y="0"/>
                  </a:lnTo>
                  <a:lnTo>
                    <a:pt x="3265312" y="0"/>
                  </a:lnTo>
                  <a:lnTo>
                    <a:pt x="3265312" y="85607"/>
                  </a:lnTo>
                  <a:cubicBezTo>
                    <a:pt x="3265312" y="112834"/>
                    <a:pt x="3260859" y="139811"/>
                    <a:pt x="3252191" y="165091"/>
                  </a:cubicBezTo>
                  <a:lnTo>
                    <a:pt x="3132688" y="513644"/>
                  </a:lnTo>
                  <a:close/>
                  <a:moveTo>
                    <a:pt x="2935111" y="513644"/>
                  </a:moveTo>
                  <a:lnTo>
                    <a:pt x="3081867" y="85607"/>
                  </a:lnTo>
                  <a:lnTo>
                    <a:pt x="3081867" y="0"/>
                  </a:lnTo>
                  <a:moveTo>
                    <a:pt x="2509520" y="0"/>
                  </a:moveTo>
                  <a:lnTo>
                    <a:pt x="2568222" y="171214"/>
                  </a:lnTo>
                  <a:lnTo>
                    <a:pt x="2568222" y="342429"/>
                  </a:lnTo>
                  <a:lnTo>
                    <a:pt x="2678289" y="513644"/>
                  </a:lnTo>
                  <a:moveTo>
                    <a:pt x="2935111" y="513644"/>
                  </a:moveTo>
                  <a:lnTo>
                    <a:pt x="2788355" y="660399"/>
                  </a:lnTo>
                  <a:lnTo>
                    <a:pt x="2678288" y="513644"/>
                  </a:lnTo>
                </a:path>
              </a:pathLst>
            </a:custGeom>
            <a:grpFill/>
            <a:ln w="9171">
              <a:solidFill>
                <a:srgbClr val="FFFFFF"/>
              </a:solidFill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</p:grpSp>
      <p:sp>
        <p:nvSpPr>
          <p:cNvPr id="20" name="TextBox 18">
            <a:extLst>
              <a:ext uri="{FF2B5EF4-FFF2-40B4-BE49-F238E27FC236}">
                <a16:creationId xmlns:a16="http://schemas.microsoft.com/office/drawing/2014/main" id="{C540EAAE-FD2C-C068-FC9E-CB160DC0C2C6}"/>
              </a:ext>
            </a:extLst>
          </p:cNvPr>
          <p:cNvSpPr txBox="1"/>
          <p:nvPr/>
        </p:nvSpPr>
        <p:spPr>
          <a:xfrm>
            <a:off x="1869252" y="2910770"/>
            <a:ext cx="689157" cy="1797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lIns="0" tIns="0" rIns="0" bIns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sz="900" b="1">
                <a:solidFill>
                  <a:srgbClr val="FFFFFF"/>
                </a:solidFill>
                <a:latin typeface="Roboto"/>
              </a:rPr>
              <a:t>Feature Drift</a:t>
            </a:r>
          </a:p>
        </p:txBody>
      </p:sp>
      <p:sp>
        <p:nvSpPr>
          <p:cNvPr id="21" name="TextBox 19">
            <a:extLst>
              <a:ext uri="{FF2B5EF4-FFF2-40B4-BE49-F238E27FC236}">
                <a16:creationId xmlns:a16="http://schemas.microsoft.com/office/drawing/2014/main" id="{27AD6856-431A-6583-CE49-4AA3E4CA7079}"/>
              </a:ext>
            </a:extLst>
          </p:cNvPr>
          <p:cNvSpPr txBox="1"/>
          <p:nvPr/>
        </p:nvSpPr>
        <p:spPr>
          <a:xfrm>
            <a:off x="6377889" y="2871024"/>
            <a:ext cx="896872" cy="25682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lIns="0" tIns="0" rIns="0" bIns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sz="600" b="0">
                <a:solidFill>
                  <a:srgbClr val="FFFFFF"/>
                </a:solidFill>
                <a:latin typeface="Roboto"/>
              </a:rPr>
              <a:t>Input data distribution
changes over time.</a:t>
            </a:r>
          </a:p>
        </p:txBody>
      </p:sp>
      <p:sp>
        <p:nvSpPr>
          <p:cNvPr id="22" name="TextBox 20">
            <a:extLst>
              <a:ext uri="{FF2B5EF4-FFF2-40B4-BE49-F238E27FC236}">
                <a16:creationId xmlns:a16="http://schemas.microsoft.com/office/drawing/2014/main" id="{9F5BAD18-E973-88A2-8210-410D8B7586B8}"/>
              </a:ext>
            </a:extLst>
          </p:cNvPr>
          <p:cNvSpPr txBox="1"/>
          <p:nvPr/>
        </p:nvSpPr>
        <p:spPr>
          <a:xfrm>
            <a:off x="6472057" y="2137246"/>
            <a:ext cx="802667" cy="25682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lIns="0" tIns="0" rIns="0" bIns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sz="600" b="0">
                <a:solidFill>
                  <a:srgbClr val="FFFFFF"/>
                </a:solidFill>
                <a:latin typeface="Roboto"/>
              </a:rPr>
              <a:t>Model performance
decreases visibly.</a:t>
            </a:r>
          </a:p>
        </p:txBody>
      </p:sp>
      <p:sp>
        <p:nvSpPr>
          <p:cNvPr id="23" name="TextBox 21">
            <a:extLst>
              <a:ext uri="{FF2B5EF4-FFF2-40B4-BE49-F238E27FC236}">
                <a16:creationId xmlns:a16="http://schemas.microsoft.com/office/drawing/2014/main" id="{2816D39B-A2EE-D604-DD76-6F2D54382031}"/>
              </a:ext>
            </a:extLst>
          </p:cNvPr>
          <p:cNvSpPr txBox="1"/>
          <p:nvPr/>
        </p:nvSpPr>
        <p:spPr>
          <a:xfrm>
            <a:off x="1869252" y="3461103"/>
            <a:ext cx="758047" cy="35955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lIns="0" tIns="0" rIns="0" bIns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sz="900" b="1">
                <a:solidFill>
                  <a:srgbClr val="FFFFFF"/>
                </a:solidFill>
                <a:latin typeface="Roboto"/>
              </a:rPr>
              <a:t>Data Pipeline
Errors</a:t>
            </a:r>
          </a:p>
        </p:txBody>
      </p:sp>
      <p:sp>
        <p:nvSpPr>
          <p:cNvPr id="24" name="TextBox 22">
            <a:extLst>
              <a:ext uri="{FF2B5EF4-FFF2-40B4-BE49-F238E27FC236}">
                <a16:creationId xmlns:a16="http://schemas.microsoft.com/office/drawing/2014/main" id="{5866D34C-0DBF-2AAB-4646-72C8B8F2D934}"/>
              </a:ext>
            </a:extLst>
          </p:cNvPr>
          <p:cNvSpPr txBox="1"/>
          <p:nvPr/>
        </p:nvSpPr>
        <p:spPr>
          <a:xfrm>
            <a:off x="6317291" y="3439702"/>
            <a:ext cx="957445" cy="38523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lIns="0" tIns="0" rIns="0" bIns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sz="600" b="0">
                <a:solidFill>
                  <a:srgbClr val="FFFFFF"/>
                </a:solidFill>
                <a:latin typeface="Roboto"/>
              </a:rPr>
              <a:t>Inconsistencies
introduce noise into the
data.</a:t>
            </a:r>
          </a:p>
        </p:txBody>
      </p:sp>
      <p:sp>
        <p:nvSpPr>
          <p:cNvPr id="25" name="TextBox 23">
            <a:extLst>
              <a:ext uri="{FF2B5EF4-FFF2-40B4-BE49-F238E27FC236}">
                <a16:creationId xmlns:a16="http://schemas.microsoft.com/office/drawing/2014/main" id="{2B35A15D-907A-828A-49F8-65CFE514DC47}"/>
              </a:ext>
            </a:extLst>
          </p:cNvPr>
          <p:cNvSpPr txBox="1"/>
          <p:nvPr/>
        </p:nvSpPr>
        <p:spPr>
          <a:xfrm>
            <a:off x="2236141" y="2103614"/>
            <a:ext cx="884642" cy="35955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lIns="0" tIns="0" rIns="0" bIns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sz="900" b="1">
                <a:solidFill>
                  <a:srgbClr val="FFFFFF"/>
                </a:solidFill>
                <a:latin typeface="Roboto"/>
              </a:rPr>
              <a:t>Reduced Model
Accuracy</a:t>
            </a:r>
          </a:p>
        </p:txBody>
      </p:sp>
      <p:sp>
        <p:nvSpPr>
          <p:cNvPr id="26" name="TextBox 24">
            <a:extLst>
              <a:ext uri="{FF2B5EF4-FFF2-40B4-BE49-F238E27FC236}">
                <a16:creationId xmlns:a16="http://schemas.microsoft.com/office/drawing/2014/main" id="{B213CA49-451C-4C77-A1BD-D8321C08A36C}"/>
              </a:ext>
            </a:extLst>
          </p:cNvPr>
          <p:cNvSpPr txBox="1"/>
          <p:nvPr/>
        </p:nvSpPr>
        <p:spPr>
          <a:xfrm>
            <a:off x="1869252" y="4194881"/>
            <a:ext cx="729766" cy="1797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lIns="0" tIns="0" rIns="0" bIns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sz="900" b="1">
                <a:solidFill>
                  <a:srgbClr val="FFFFFF"/>
                </a:solidFill>
                <a:latin typeface="Roboto"/>
              </a:rPr>
              <a:t>Concept Drift</a:t>
            </a:r>
          </a:p>
        </p:txBody>
      </p:sp>
      <p:sp>
        <p:nvSpPr>
          <p:cNvPr id="27" name="TextBox 25">
            <a:extLst>
              <a:ext uri="{FF2B5EF4-FFF2-40B4-BE49-F238E27FC236}">
                <a16:creationId xmlns:a16="http://schemas.microsoft.com/office/drawing/2014/main" id="{592C42E7-B401-199C-DF51-95035E549B8B}"/>
              </a:ext>
            </a:extLst>
          </p:cNvPr>
          <p:cNvSpPr txBox="1"/>
          <p:nvPr/>
        </p:nvSpPr>
        <p:spPr>
          <a:xfrm>
            <a:off x="6400636" y="4100102"/>
            <a:ext cx="874131" cy="38523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lIns="0" tIns="0" rIns="0" bIns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sz="600" b="0">
                <a:solidFill>
                  <a:srgbClr val="FFFFFF"/>
                </a:solidFill>
                <a:latin typeface="Roboto"/>
              </a:rPr>
              <a:t>Relationship between
inputs and outputs
evolves.</a:t>
            </a:r>
          </a:p>
        </p:txBody>
      </p:sp>
      <p:sp>
        <p:nvSpPr>
          <p:cNvPr id="28" name="TextBox 26">
            <a:extLst>
              <a:ext uri="{FF2B5EF4-FFF2-40B4-BE49-F238E27FC236}">
                <a16:creationId xmlns:a16="http://schemas.microsoft.com/office/drawing/2014/main" id="{421AFA03-CD82-5940-6FFF-07DEB2D8EA7C}"/>
              </a:ext>
            </a:extLst>
          </p:cNvPr>
          <p:cNvSpPr txBox="1"/>
          <p:nvPr/>
        </p:nvSpPr>
        <p:spPr>
          <a:xfrm>
            <a:off x="1869252" y="4781903"/>
            <a:ext cx="802379" cy="35955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lIns="0" tIns="0" rIns="0" bIns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sz="900" b="1">
                <a:solidFill>
                  <a:srgbClr val="FFFFFF"/>
                </a:solidFill>
                <a:latin typeface="Roboto"/>
              </a:rPr>
              <a:t>Monitoring
Fragmentation</a:t>
            </a:r>
          </a:p>
        </p:txBody>
      </p:sp>
      <p:sp>
        <p:nvSpPr>
          <p:cNvPr id="29" name="TextBox 27">
            <a:extLst>
              <a:ext uri="{FF2B5EF4-FFF2-40B4-BE49-F238E27FC236}">
                <a16:creationId xmlns:a16="http://schemas.microsoft.com/office/drawing/2014/main" id="{DB51DDAA-FE89-BD48-E29C-F1CBC79B5DB7}"/>
              </a:ext>
            </a:extLst>
          </p:cNvPr>
          <p:cNvSpPr txBox="1"/>
          <p:nvPr/>
        </p:nvSpPr>
        <p:spPr>
          <a:xfrm>
            <a:off x="6508990" y="5420902"/>
            <a:ext cx="765782" cy="38523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lIns="0" tIns="0" rIns="0" bIns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sz="600" b="0">
                <a:solidFill>
                  <a:srgbClr val="FFFFFF"/>
                </a:solidFill>
                <a:latin typeface="Roboto"/>
              </a:rPr>
              <a:t>Model degradation
leads to unfair
predictions.</a:t>
            </a:r>
          </a:p>
        </p:txBody>
      </p:sp>
      <p:sp>
        <p:nvSpPr>
          <p:cNvPr id="31" name="TextBox 29">
            <a:extLst>
              <a:ext uri="{FF2B5EF4-FFF2-40B4-BE49-F238E27FC236}">
                <a16:creationId xmlns:a16="http://schemas.microsoft.com/office/drawing/2014/main" id="{8D40EAAD-01B6-62CE-56D6-7FC11CA33D8A}"/>
              </a:ext>
            </a:extLst>
          </p:cNvPr>
          <p:cNvSpPr txBox="1"/>
          <p:nvPr/>
        </p:nvSpPr>
        <p:spPr>
          <a:xfrm>
            <a:off x="1869252" y="5515681"/>
            <a:ext cx="965761" cy="1797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lIns="0" tIns="0" rIns="0" bIns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sz="900" b="1">
                <a:solidFill>
                  <a:srgbClr val="FFFFFF"/>
                </a:solidFill>
                <a:latin typeface="Roboto"/>
              </a:rPr>
              <a:t>Biased Outcomes</a:t>
            </a:r>
          </a:p>
        </p:txBody>
      </p:sp>
      <p:sp>
        <p:nvSpPr>
          <p:cNvPr id="32" name="TextBox 30">
            <a:extLst>
              <a:ext uri="{FF2B5EF4-FFF2-40B4-BE49-F238E27FC236}">
                <a16:creationId xmlns:a16="http://schemas.microsoft.com/office/drawing/2014/main" id="{43007C76-B079-8B5C-84A8-98F7BF2A9FB1}"/>
              </a:ext>
            </a:extLst>
          </p:cNvPr>
          <p:cNvSpPr txBox="1"/>
          <p:nvPr/>
        </p:nvSpPr>
        <p:spPr>
          <a:xfrm>
            <a:off x="6505933" y="4760502"/>
            <a:ext cx="768840" cy="38523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lIns="0" tIns="0" rIns="0" bIns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sz="600" b="0">
                <a:solidFill>
                  <a:srgbClr val="FFFFFF"/>
                </a:solidFill>
                <a:latin typeface="Roboto"/>
              </a:rPr>
              <a:t>Manual monitoring
delays problem
detection.</a:t>
            </a:r>
          </a:p>
        </p:txBody>
      </p:sp>
      <p:sp>
        <p:nvSpPr>
          <p:cNvPr id="33" name="Rounded Rectangle 31">
            <a:extLst>
              <a:ext uri="{FF2B5EF4-FFF2-40B4-BE49-F238E27FC236}">
                <a16:creationId xmlns:a16="http://schemas.microsoft.com/office/drawing/2014/main" id="{F5414CB4-41B0-8D88-9C30-A7945A0B1B95}"/>
              </a:ext>
            </a:extLst>
          </p:cNvPr>
          <p:cNvSpPr/>
          <p:nvPr/>
        </p:nvSpPr>
        <p:spPr>
          <a:xfrm>
            <a:off x="4434417" y="2834335"/>
            <a:ext cx="275081" cy="275166"/>
          </a:xfrm>
          <a:custGeom>
            <a:avLst/>
            <a:gdLst/>
            <a:ahLst/>
            <a:cxnLst/>
            <a:rect l="0" t="0" r="0" b="0"/>
            <a:pathLst>
              <a:path w="275081" h="275166">
                <a:moveTo>
                  <a:pt x="275081" y="275166"/>
                </a:moveTo>
                <a:lnTo>
                  <a:pt x="0" y="275166"/>
                </a:lnTo>
                <a:lnTo>
                  <a:pt x="0" y="0"/>
                </a:lnTo>
                <a:moveTo>
                  <a:pt x="182" y="77451"/>
                </a:moveTo>
                <a:cubicBezTo>
                  <a:pt x="1189" y="77036"/>
                  <a:pt x="2244" y="76695"/>
                  <a:pt x="3349" y="76434"/>
                </a:cubicBezTo>
                <a:cubicBezTo>
                  <a:pt x="42168" y="67262"/>
                  <a:pt x="65459" y="137583"/>
                  <a:pt x="96514" y="137583"/>
                </a:cubicBezTo>
                <a:cubicBezTo>
                  <a:pt x="127569" y="137583"/>
                  <a:pt x="166389" y="64205"/>
                  <a:pt x="197443" y="67262"/>
                </a:cubicBezTo>
                <a:cubicBezTo>
                  <a:pt x="228498" y="70319"/>
                  <a:pt x="239611" y="132972"/>
                  <a:pt x="275081" y="125353"/>
                </a:cubicBezTo>
                <a:moveTo>
                  <a:pt x="0" y="250707"/>
                </a:moveTo>
                <a:cubicBezTo>
                  <a:pt x="38217" y="243433"/>
                  <a:pt x="94779" y="180387"/>
                  <a:pt x="125353" y="190086"/>
                </a:cubicBezTo>
                <a:cubicBezTo>
                  <a:pt x="155927" y="199785"/>
                  <a:pt x="192616" y="248282"/>
                  <a:pt x="217075" y="243433"/>
                </a:cubicBezTo>
                <a:cubicBezTo>
                  <a:pt x="241535" y="238582"/>
                  <a:pt x="272109" y="180387"/>
                  <a:pt x="272109" y="180387"/>
                </a:cubicBezTo>
                <a:moveTo>
                  <a:pt x="190" y="155115"/>
                </a:moveTo>
                <a:cubicBezTo>
                  <a:pt x="72257" y="154660"/>
                  <a:pt x="40307" y="21401"/>
                  <a:pt x="96514" y="21401"/>
                </a:cubicBezTo>
                <a:cubicBezTo>
                  <a:pt x="135333" y="21401"/>
                  <a:pt x="143097" y="162042"/>
                  <a:pt x="189679" y="168157"/>
                </a:cubicBezTo>
                <a:cubicBezTo>
                  <a:pt x="236261" y="174272"/>
                  <a:pt x="267317" y="70320"/>
                  <a:pt x="275081" y="39746"/>
                </a:cubicBezTo>
              </a:path>
            </a:pathLst>
          </a:custGeom>
          <a:solidFill>
            <a:schemeClr val="accent2"/>
          </a:solidFill>
          <a:ln w="9171">
            <a:solidFill>
              <a:srgbClr val="FFFFFF"/>
            </a:solidFill>
          </a:ln>
        </p:spPr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34" name="Rounded Rectangle 32">
            <a:extLst>
              <a:ext uri="{FF2B5EF4-FFF2-40B4-BE49-F238E27FC236}">
                <a16:creationId xmlns:a16="http://schemas.microsoft.com/office/drawing/2014/main" id="{D903DE87-9AD3-7617-EFDA-7EA4B6B30BB5}"/>
              </a:ext>
            </a:extLst>
          </p:cNvPr>
          <p:cNvSpPr/>
          <p:nvPr/>
        </p:nvSpPr>
        <p:spPr>
          <a:xfrm>
            <a:off x="4425245" y="3448874"/>
            <a:ext cx="284337" cy="271496"/>
          </a:xfrm>
          <a:custGeom>
            <a:avLst/>
            <a:gdLst/>
            <a:ahLst/>
            <a:cxnLst/>
            <a:rect l="0" t="0" r="0" b="0"/>
            <a:pathLst>
              <a:path w="284337" h="271496">
                <a:moveTo>
                  <a:pt x="128994" y="113737"/>
                </a:moveTo>
                <a:cubicBezTo>
                  <a:pt x="76407" y="113737"/>
                  <a:pt x="34855" y="72156"/>
                  <a:pt x="34855" y="22015"/>
                </a:cubicBezTo>
                <a:moveTo>
                  <a:pt x="111902" y="150426"/>
                </a:moveTo>
                <a:cubicBezTo>
                  <a:pt x="44639" y="150426"/>
                  <a:pt x="9173" y="108845"/>
                  <a:pt x="9173" y="58704"/>
                </a:cubicBezTo>
                <a:moveTo>
                  <a:pt x="128994" y="183443"/>
                </a:moveTo>
                <a:cubicBezTo>
                  <a:pt x="76407" y="183443"/>
                  <a:pt x="34855" y="222578"/>
                  <a:pt x="34855" y="271496"/>
                </a:cubicBezTo>
                <a:moveTo>
                  <a:pt x="9173" y="242149"/>
                </a:moveTo>
                <a:cubicBezTo>
                  <a:pt x="9173" y="192007"/>
                  <a:pt x="44639" y="150426"/>
                  <a:pt x="111902" y="150426"/>
                </a:cubicBezTo>
                <a:lnTo>
                  <a:pt x="128994" y="150426"/>
                </a:lnTo>
                <a:moveTo>
                  <a:pt x="165711" y="189558"/>
                </a:moveTo>
                <a:cubicBezTo>
                  <a:pt x="165711" y="196895"/>
                  <a:pt x="160819" y="201787"/>
                  <a:pt x="153481" y="201787"/>
                </a:cubicBezTo>
                <a:lnTo>
                  <a:pt x="141252" y="201787"/>
                </a:lnTo>
                <a:cubicBezTo>
                  <a:pt x="133914" y="201787"/>
                  <a:pt x="129022" y="196895"/>
                  <a:pt x="129022" y="189558"/>
                </a:cubicBezTo>
                <a:lnTo>
                  <a:pt x="129022" y="110065"/>
                </a:lnTo>
                <a:cubicBezTo>
                  <a:pt x="129022" y="102727"/>
                  <a:pt x="133914" y="97835"/>
                  <a:pt x="141252" y="97835"/>
                </a:cubicBezTo>
                <a:lnTo>
                  <a:pt x="153481" y="97835"/>
                </a:lnTo>
                <a:cubicBezTo>
                  <a:pt x="160819" y="97835"/>
                  <a:pt x="165711" y="102727"/>
                  <a:pt x="165711" y="110065"/>
                </a:cubicBezTo>
                <a:close/>
                <a:moveTo>
                  <a:pt x="0" y="0"/>
                </a:moveTo>
                <a:moveTo>
                  <a:pt x="220744" y="171213"/>
                </a:moveTo>
                <a:lnTo>
                  <a:pt x="165711" y="177328"/>
                </a:lnTo>
                <a:lnTo>
                  <a:pt x="165711" y="122294"/>
                </a:lnTo>
                <a:lnTo>
                  <a:pt x="220744" y="128409"/>
                </a:lnTo>
                <a:close/>
                <a:moveTo>
                  <a:pt x="0" y="0"/>
                </a:moveTo>
                <a:moveTo>
                  <a:pt x="259878" y="116182"/>
                </a:moveTo>
                <a:lnTo>
                  <a:pt x="284337" y="110068"/>
                </a:lnTo>
                <a:moveTo>
                  <a:pt x="0" y="0"/>
                </a:moveTo>
                <a:moveTo>
                  <a:pt x="259878" y="182221"/>
                </a:moveTo>
                <a:lnTo>
                  <a:pt x="284337" y="188336"/>
                </a:lnTo>
                <a:moveTo>
                  <a:pt x="259878" y="150426"/>
                </a:moveTo>
                <a:lnTo>
                  <a:pt x="284337" y="150426"/>
                </a:lnTo>
              </a:path>
            </a:pathLst>
          </a:custGeom>
          <a:solidFill>
            <a:schemeClr val="accent2"/>
          </a:solidFill>
          <a:ln w="9171">
            <a:solidFill>
              <a:srgbClr val="FFFFFF"/>
            </a:solidFill>
          </a:ln>
        </p:spPr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35" name="Rounded Rectangle 33">
            <a:extLst>
              <a:ext uri="{FF2B5EF4-FFF2-40B4-BE49-F238E27FC236}">
                <a16:creationId xmlns:a16="http://schemas.microsoft.com/office/drawing/2014/main" id="{10AC2FB8-662B-4E9F-DA6E-49DC73902E90}"/>
              </a:ext>
            </a:extLst>
          </p:cNvPr>
          <p:cNvSpPr/>
          <p:nvPr/>
        </p:nvSpPr>
        <p:spPr>
          <a:xfrm>
            <a:off x="4431360" y="4121503"/>
            <a:ext cx="281281" cy="269051"/>
          </a:xfrm>
          <a:custGeom>
            <a:avLst/>
            <a:gdLst/>
            <a:ahLst/>
            <a:cxnLst/>
            <a:rect l="0" t="0" r="0" b="0"/>
            <a:pathLst>
              <a:path w="281281" h="269051">
                <a:moveTo>
                  <a:pt x="207903" y="0"/>
                </a:moveTo>
                <a:lnTo>
                  <a:pt x="183444" y="24459"/>
                </a:lnTo>
                <a:lnTo>
                  <a:pt x="207903" y="48918"/>
                </a:lnTo>
                <a:moveTo>
                  <a:pt x="232362" y="73377"/>
                </a:moveTo>
                <a:lnTo>
                  <a:pt x="256822" y="97836"/>
                </a:lnTo>
                <a:lnTo>
                  <a:pt x="281281" y="73377"/>
                </a:lnTo>
                <a:moveTo>
                  <a:pt x="183444" y="24459"/>
                </a:moveTo>
                <a:lnTo>
                  <a:pt x="201788" y="24459"/>
                </a:lnTo>
                <a:cubicBezTo>
                  <a:pt x="232182" y="24459"/>
                  <a:pt x="256822" y="49098"/>
                  <a:pt x="256822" y="79492"/>
                </a:cubicBezTo>
                <a:lnTo>
                  <a:pt x="256822" y="97836"/>
                </a:lnTo>
                <a:moveTo>
                  <a:pt x="12229" y="48918"/>
                </a:moveTo>
                <a:lnTo>
                  <a:pt x="134525" y="48918"/>
                </a:lnTo>
                <a:cubicBezTo>
                  <a:pt x="134525" y="48918"/>
                  <a:pt x="146755" y="48918"/>
                  <a:pt x="146755" y="61148"/>
                </a:cubicBezTo>
                <a:lnTo>
                  <a:pt x="146755" y="183444"/>
                </a:lnTo>
                <a:cubicBezTo>
                  <a:pt x="146755" y="183444"/>
                  <a:pt x="146755" y="195673"/>
                  <a:pt x="134525" y="195673"/>
                </a:cubicBezTo>
                <a:lnTo>
                  <a:pt x="12229" y="195673"/>
                </a:lnTo>
                <a:cubicBezTo>
                  <a:pt x="12229" y="195673"/>
                  <a:pt x="0" y="195673"/>
                  <a:pt x="0" y="183444"/>
                </a:cubicBezTo>
                <a:lnTo>
                  <a:pt x="0" y="61148"/>
                </a:lnTo>
                <a:cubicBezTo>
                  <a:pt x="0" y="61148"/>
                  <a:pt x="0" y="48918"/>
                  <a:pt x="12229" y="48918"/>
                </a:cubicBezTo>
                <a:moveTo>
                  <a:pt x="146755" y="122296"/>
                </a:moveTo>
                <a:lnTo>
                  <a:pt x="207903" y="122296"/>
                </a:lnTo>
                <a:cubicBezTo>
                  <a:pt x="214657" y="122296"/>
                  <a:pt x="220133" y="127771"/>
                  <a:pt x="220133" y="134525"/>
                </a:cubicBezTo>
                <a:lnTo>
                  <a:pt x="220133" y="256822"/>
                </a:lnTo>
                <a:cubicBezTo>
                  <a:pt x="220133" y="263576"/>
                  <a:pt x="214657" y="269051"/>
                  <a:pt x="207903" y="269051"/>
                </a:cubicBezTo>
                <a:lnTo>
                  <a:pt x="85607" y="269051"/>
                </a:lnTo>
                <a:cubicBezTo>
                  <a:pt x="78853" y="269051"/>
                  <a:pt x="73377" y="263576"/>
                  <a:pt x="73377" y="256822"/>
                </a:cubicBezTo>
                <a:lnTo>
                  <a:pt x="73377" y="195673"/>
                </a:lnTo>
                <a:moveTo>
                  <a:pt x="110066" y="195673"/>
                </a:moveTo>
                <a:lnTo>
                  <a:pt x="110066" y="226247"/>
                </a:lnTo>
                <a:cubicBezTo>
                  <a:pt x="110066" y="229625"/>
                  <a:pt x="112804" y="232362"/>
                  <a:pt x="116181" y="232362"/>
                </a:cubicBezTo>
                <a:lnTo>
                  <a:pt x="177329" y="232362"/>
                </a:lnTo>
                <a:cubicBezTo>
                  <a:pt x="180706" y="232362"/>
                  <a:pt x="183444" y="229625"/>
                  <a:pt x="183444" y="226247"/>
                </a:cubicBezTo>
                <a:lnTo>
                  <a:pt x="183444" y="165099"/>
                </a:lnTo>
                <a:cubicBezTo>
                  <a:pt x="183444" y="161722"/>
                  <a:pt x="180706" y="158985"/>
                  <a:pt x="177329" y="158985"/>
                </a:cubicBezTo>
                <a:lnTo>
                  <a:pt x="146755" y="158985"/>
                </a:lnTo>
              </a:path>
            </a:pathLst>
          </a:custGeom>
          <a:solidFill>
            <a:schemeClr val="accent2"/>
          </a:solidFill>
          <a:ln w="9171">
            <a:solidFill>
              <a:srgbClr val="FFFFFF"/>
            </a:solidFill>
          </a:ln>
        </p:spPr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36" name="Rounded Rectangle 34">
            <a:extLst>
              <a:ext uri="{FF2B5EF4-FFF2-40B4-BE49-F238E27FC236}">
                <a16:creationId xmlns:a16="http://schemas.microsoft.com/office/drawing/2014/main" id="{8B8DF11B-232C-76A8-A130-A6B295E3E715}"/>
              </a:ext>
            </a:extLst>
          </p:cNvPr>
          <p:cNvSpPr/>
          <p:nvPr/>
        </p:nvSpPr>
        <p:spPr>
          <a:xfrm>
            <a:off x="1857023" y="2091385"/>
            <a:ext cx="207903" cy="287396"/>
          </a:xfrm>
          <a:custGeom>
            <a:avLst/>
            <a:gdLst/>
            <a:ahLst/>
            <a:cxnLst/>
            <a:rect l="0" t="0" r="0" b="0"/>
            <a:pathLst>
              <a:path w="207903" h="287396">
                <a:moveTo>
                  <a:pt x="0" y="0"/>
                </a:moveTo>
                <a:moveTo>
                  <a:pt x="103951" y="250707"/>
                </a:moveTo>
                <a:lnTo>
                  <a:pt x="140640" y="287396"/>
                </a:lnTo>
                <a:lnTo>
                  <a:pt x="177329" y="250707"/>
                </a:lnTo>
                <a:moveTo>
                  <a:pt x="140640" y="6114"/>
                </a:moveTo>
                <a:lnTo>
                  <a:pt x="140640" y="91722"/>
                </a:lnTo>
                <a:lnTo>
                  <a:pt x="207903" y="91722"/>
                </a:lnTo>
                <a:lnTo>
                  <a:pt x="85607" y="177329"/>
                </a:lnTo>
                <a:lnTo>
                  <a:pt x="140640" y="177329"/>
                </a:lnTo>
                <a:lnTo>
                  <a:pt x="140640" y="287396"/>
                </a:lnTo>
              </a:path>
            </a:pathLst>
          </a:custGeom>
          <a:solidFill>
            <a:schemeClr val="accent2"/>
          </a:solidFill>
          <a:ln w="9171">
            <a:solidFill>
              <a:srgbClr val="FFFFFF"/>
            </a:solidFill>
          </a:ln>
        </p:spPr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37" name="Rounded Rectangle 35">
            <a:extLst>
              <a:ext uri="{FF2B5EF4-FFF2-40B4-BE49-F238E27FC236}">
                <a16:creationId xmlns:a16="http://schemas.microsoft.com/office/drawing/2014/main" id="{74A8AF29-313C-E976-1FBA-18470D5DFE4B}"/>
              </a:ext>
            </a:extLst>
          </p:cNvPr>
          <p:cNvSpPr/>
          <p:nvPr/>
        </p:nvSpPr>
        <p:spPr>
          <a:xfrm>
            <a:off x="4431360" y="4779616"/>
            <a:ext cx="281281" cy="273625"/>
          </a:xfrm>
          <a:custGeom>
            <a:avLst/>
            <a:gdLst/>
            <a:ahLst/>
            <a:cxnLst/>
            <a:rect l="0" t="0" r="0" b="0"/>
            <a:pathLst>
              <a:path w="281281" h="273625">
                <a:moveTo>
                  <a:pt x="97384" y="250707"/>
                </a:moveTo>
                <a:lnTo>
                  <a:pt x="24459" y="250707"/>
                </a:lnTo>
                <a:cubicBezTo>
                  <a:pt x="10950" y="250707"/>
                  <a:pt x="0" y="239756"/>
                  <a:pt x="0" y="226248"/>
                </a:cubicBezTo>
                <a:lnTo>
                  <a:pt x="0" y="24459"/>
                </a:lnTo>
                <a:cubicBezTo>
                  <a:pt x="0" y="10950"/>
                  <a:pt x="10950" y="0"/>
                  <a:pt x="24459" y="0"/>
                </a:cubicBezTo>
                <a:lnTo>
                  <a:pt x="256822" y="0"/>
                </a:lnTo>
                <a:cubicBezTo>
                  <a:pt x="270330" y="0"/>
                  <a:pt x="281281" y="10950"/>
                  <a:pt x="281281" y="24459"/>
                </a:cubicBezTo>
                <a:lnTo>
                  <a:pt x="281281" y="113124"/>
                </a:lnTo>
                <a:moveTo>
                  <a:pt x="0" y="61148"/>
                </a:moveTo>
                <a:lnTo>
                  <a:pt x="281281" y="61148"/>
                </a:lnTo>
                <a:moveTo>
                  <a:pt x="42803" y="27516"/>
                </a:moveTo>
                <a:cubicBezTo>
                  <a:pt x="41115" y="27516"/>
                  <a:pt x="39746" y="28885"/>
                  <a:pt x="39746" y="30574"/>
                </a:cubicBezTo>
                <a:cubicBezTo>
                  <a:pt x="39746" y="32262"/>
                  <a:pt x="41115" y="33631"/>
                  <a:pt x="42803" y="33631"/>
                </a:cubicBezTo>
                <a:cubicBezTo>
                  <a:pt x="44492" y="33631"/>
                  <a:pt x="45861" y="32262"/>
                  <a:pt x="45861" y="30574"/>
                </a:cubicBezTo>
                <a:cubicBezTo>
                  <a:pt x="45861" y="28885"/>
                  <a:pt x="44492" y="27516"/>
                  <a:pt x="42803" y="27516"/>
                </a:cubicBezTo>
                <a:moveTo>
                  <a:pt x="79492" y="27516"/>
                </a:moveTo>
                <a:cubicBezTo>
                  <a:pt x="77804" y="27516"/>
                  <a:pt x="76435" y="28885"/>
                  <a:pt x="76435" y="30574"/>
                </a:cubicBezTo>
                <a:cubicBezTo>
                  <a:pt x="76435" y="32262"/>
                  <a:pt x="77804" y="33631"/>
                  <a:pt x="79492" y="33631"/>
                </a:cubicBezTo>
                <a:cubicBezTo>
                  <a:pt x="81181" y="33631"/>
                  <a:pt x="82550" y="32262"/>
                  <a:pt x="82550" y="30574"/>
                </a:cubicBezTo>
                <a:cubicBezTo>
                  <a:pt x="82550" y="28885"/>
                  <a:pt x="81181" y="27516"/>
                  <a:pt x="79492" y="27516"/>
                </a:cubicBezTo>
                <a:moveTo>
                  <a:pt x="116181" y="27516"/>
                </a:moveTo>
                <a:cubicBezTo>
                  <a:pt x="114492" y="27516"/>
                  <a:pt x="113124" y="28885"/>
                  <a:pt x="113124" y="30574"/>
                </a:cubicBezTo>
                <a:cubicBezTo>
                  <a:pt x="113124" y="32262"/>
                  <a:pt x="114492" y="33631"/>
                  <a:pt x="116181" y="33631"/>
                </a:cubicBezTo>
                <a:cubicBezTo>
                  <a:pt x="117870" y="33631"/>
                  <a:pt x="119238" y="32262"/>
                  <a:pt x="119238" y="30574"/>
                </a:cubicBezTo>
                <a:cubicBezTo>
                  <a:pt x="119238" y="28885"/>
                  <a:pt x="117870" y="27516"/>
                  <a:pt x="116181" y="27516"/>
                </a:cubicBezTo>
                <a:moveTo>
                  <a:pt x="174272" y="258338"/>
                </a:moveTo>
                <a:cubicBezTo>
                  <a:pt x="174272" y="266781"/>
                  <a:pt x="181116" y="273625"/>
                  <a:pt x="189559" y="273625"/>
                </a:cubicBezTo>
                <a:cubicBezTo>
                  <a:pt x="198002" y="273625"/>
                  <a:pt x="204846" y="266781"/>
                  <a:pt x="204846" y="258338"/>
                </a:cubicBezTo>
                <a:cubicBezTo>
                  <a:pt x="204846" y="249895"/>
                  <a:pt x="198002" y="243051"/>
                  <a:pt x="189559" y="243051"/>
                </a:cubicBezTo>
                <a:cubicBezTo>
                  <a:pt x="181116" y="243051"/>
                  <a:pt x="174272" y="249895"/>
                  <a:pt x="174272" y="258338"/>
                </a:cubicBezTo>
                <a:moveTo>
                  <a:pt x="189559" y="140836"/>
                </a:moveTo>
                <a:lnTo>
                  <a:pt x="189559" y="213284"/>
                </a:lnTo>
                <a:moveTo>
                  <a:pt x="146327" y="232742"/>
                </a:moveTo>
                <a:cubicBezTo>
                  <a:pt x="148489" y="230581"/>
                  <a:pt x="150807" y="228582"/>
                  <a:pt x="153261" y="226761"/>
                </a:cubicBezTo>
                <a:moveTo>
                  <a:pt x="225563" y="226553"/>
                </a:moveTo>
                <a:cubicBezTo>
                  <a:pt x="228128" y="228426"/>
                  <a:pt x="230545" y="230495"/>
                  <a:pt x="232791" y="232742"/>
                </a:cubicBezTo>
                <a:moveTo>
                  <a:pt x="120376" y="206803"/>
                </a:moveTo>
                <a:cubicBezTo>
                  <a:pt x="129755" y="197403"/>
                  <a:pt x="140953" y="190016"/>
                  <a:pt x="153286" y="185095"/>
                </a:cubicBezTo>
                <a:moveTo>
                  <a:pt x="225563" y="184985"/>
                </a:moveTo>
                <a:cubicBezTo>
                  <a:pt x="238003" y="189903"/>
                  <a:pt x="249297" y="197330"/>
                  <a:pt x="258742" y="206803"/>
                </a:cubicBezTo>
                <a:moveTo>
                  <a:pt x="97837" y="177586"/>
                </a:moveTo>
                <a:cubicBezTo>
                  <a:pt x="113263" y="163164"/>
                  <a:pt x="131882" y="152595"/>
                  <a:pt x="152173" y="146743"/>
                </a:cubicBezTo>
                <a:moveTo>
                  <a:pt x="225551" y="146351"/>
                </a:moveTo>
                <a:cubicBezTo>
                  <a:pt x="246374" y="152118"/>
                  <a:pt x="265494" y="162834"/>
                  <a:pt x="281281" y="177586"/>
                </a:cubicBezTo>
              </a:path>
            </a:pathLst>
          </a:custGeom>
          <a:solidFill>
            <a:schemeClr val="accent2"/>
          </a:solidFill>
          <a:ln w="9171">
            <a:solidFill>
              <a:srgbClr val="FFFFFF"/>
            </a:solidFill>
          </a:ln>
        </p:spPr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38" name="Rounded Rectangle 36">
            <a:extLst>
              <a:ext uri="{FF2B5EF4-FFF2-40B4-BE49-F238E27FC236}">
                <a16:creationId xmlns:a16="http://schemas.microsoft.com/office/drawing/2014/main" id="{5DA1EA9D-952F-9511-4240-C0717D6956AE}"/>
              </a:ext>
            </a:extLst>
          </p:cNvPr>
          <p:cNvSpPr/>
          <p:nvPr/>
        </p:nvSpPr>
        <p:spPr>
          <a:xfrm>
            <a:off x="4437190" y="5452307"/>
            <a:ext cx="269621" cy="249044"/>
          </a:xfrm>
          <a:custGeom>
            <a:avLst/>
            <a:gdLst/>
            <a:ahLst/>
            <a:cxnLst/>
            <a:rect l="0" t="0" r="0" b="0"/>
            <a:pathLst>
              <a:path w="269621" h="249044">
                <a:moveTo>
                  <a:pt x="134810" y="59484"/>
                </a:moveTo>
                <a:lnTo>
                  <a:pt x="134810" y="249044"/>
                </a:lnTo>
                <a:moveTo>
                  <a:pt x="104236" y="249044"/>
                </a:moveTo>
                <a:lnTo>
                  <a:pt x="165384" y="249044"/>
                </a:lnTo>
                <a:moveTo>
                  <a:pt x="284" y="175666"/>
                </a:moveTo>
                <a:lnTo>
                  <a:pt x="43088" y="84384"/>
                </a:lnTo>
                <a:lnTo>
                  <a:pt x="85892" y="175666"/>
                </a:lnTo>
                <a:moveTo>
                  <a:pt x="116466" y="41140"/>
                </a:moveTo>
                <a:cubicBezTo>
                  <a:pt x="116466" y="51271"/>
                  <a:pt x="124679" y="59484"/>
                  <a:pt x="134810" y="59484"/>
                </a:cubicBezTo>
                <a:cubicBezTo>
                  <a:pt x="144942" y="59484"/>
                  <a:pt x="153155" y="51271"/>
                  <a:pt x="153155" y="41140"/>
                </a:cubicBezTo>
                <a:cubicBezTo>
                  <a:pt x="153155" y="31009"/>
                  <a:pt x="144942" y="22796"/>
                  <a:pt x="134810" y="22796"/>
                </a:cubicBezTo>
                <a:cubicBezTo>
                  <a:pt x="124679" y="22796"/>
                  <a:pt x="116466" y="31009"/>
                  <a:pt x="116466" y="41140"/>
                </a:cubicBezTo>
                <a:close/>
                <a:moveTo>
                  <a:pt x="43088" y="218470"/>
                </a:moveTo>
                <a:cubicBezTo>
                  <a:pt x="54525" y="218754"/>
                  <a:pt x="65579" y="214336"/>
                  <a:pt x="73669" y="206247"/>
                </a:cubicBezTo>
                <a:cubicBezTo>
                  <a:pt x="81759" y="198157"/>
                  <a:pt x="86177" y="187103"/>
                  <a:pt x="85892" y="175666"/>
                </a:cubicBezTo>
                <a:lnTo>
                  <a:pt x="284" y="175666"/>
                </a:lnTo>
                <a:cubicBezTo>
                  <a:pt x="0" y="187103"/>
                  <a:pt x="4418" y="198157"/>
                  <a:pt x="12507" y="206247"/>
                </a:cubicBezTo>
                <a:cubicBezTo>
                  <a:pt x="20597" y="214336"/>
                  <a:pt x="31651" y="218754"/>
                  <a:pt x="43088" y="218470"/>
                </a:cubicBezTo>
                <a:close/>
                <a:moveTo>
                  <a:pt x="269336" y="102288"/>
                </a:moveTo>
                <a:lnTo>
                  <a:pt x="226533" y="10162"/>
                </a:lnTo>
                <a:lnTo>
                  <a:pt x="183729" y="102288"/>
                </a:lnTo>
                <a:moveTo>
                  <a:pt x="226533" y="145092"/>
                </a:moveTo>
                <a:cubicBezTo>
                  <a:pt x="215095" y="145377"/>
                  <a:pt x="204042" y="140959"/>
                  <a:pt x="195952" y="132869"/>
                </a:cubicBezTo>
                <a:cubicBezTo>
                  <a:pt x="187862" y="124779"/>
                  <a:pt x="183444" y="113725"/>
                  <a:pt x="183729" y="102288"/>
                </a:cubicBezTo>
                <a:lnTo>
                  <a:pt x="269336" y="102288"/>
                </a:lnTo>
                <a:cubicBezTo>
                  <a:pt x="269621" y="113725"/>
                  <a:pt x="265203" y="124779"/>
                  <a:pt x="257113" y="132869"/>
                </a:cubicBezTo>
                <a:cubicBezTo>
                  <a:pt x="249023" y="140959"/>
                  <a:pt x="237970" y="145377"/>
                  <a:pt x="226533" y="145092"/>
                </a:cubicBezTo>
                <a:close/>
                <a:moveTo>
                  <a:pt x="153081" y="39868"/>
                </a:moveTo>
                <a:lnTo>
                  <a:pt x="251664" y="0"/>
                </a:lnTo>
                <a:moveTo>
                  <a:pt x="17968" y="94522"/>
                </a:moveTo>
                <a:lnTo>
                  <a:pt x="120930" y="52868"/>
                </a:lnTo>
              </a:path>
            </a:pathLst>
          </a:custGeom>
          <a:solidFill>
            <a:schemeClr val="accent2"/>
          </a:solidFill>
          <a:ln w="9171">
            <a:solidFill>
              <a:srgbClr val="FFFFFF"/>
            </a:solidFill>
          </a:ln>
        </p:spPr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46A80A0D-5AE4-465C-A5CE-606FBC9E1C52}"/>
              </a:ext>
            </a:extLst>
          </p:cNvPr>
          <p:cNvSpPr txBox="1"/>
          <p:nvPr/>
        </p:nvSpPr>
        <p:spPr>
          <a:xfrm>
            <a:off x="537601" y="282324"/>
            <a:ext cx="71688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Roboto"/>
              </a:rPr>
              <a:t>ML Model Degradation: Unveiling the Hidden Challenges</a:t>
            </a:r>
          </a:p>
          <a:p>
            <a:endParaRPr lang="en-IN" dirty="0">
              <a:solidFill>
                <a:schemeClr val="accent2"/>
              </a:solidFill>
            </a:endParaRPr>
          </a:p>
        </p:txBody>
      </p:sp>
    </p:spTree>
  </p:cSld>
  <p:clrMapOvr>
    <a:masterClrMapping/>
  </p:clrMapOvr>
  <p:transition spd="slow">
    <p:push dir="u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559" y="161605"/>
            <a:ext cx="7455190" cy="685801"/>
          </a:xfrm>
        </p:spPr>
        <p:txBody>
          <a:bodyPr anchor="ctr">
            <a:normAutofit/>
          </a:bodyPr>
          <a:lstStyle/>
          <a:p>
            <a:pPr>
              <a:defRPr sz="3600" b="1">
                <a:solidFill>
                  <a:srgbClr val="1A1A66"/>
                </a:solidFill>
              </a:defRPr>
            </a:pPr>
            <a:r>
              <a:rPr lang="en-US" sz="2400" dirty="0">
                <a:solidFill>
                  <a:schemeClr val="accent2"/>
                </a:solidFill>
              </a:rPr>
              <a:t>Modular SDKs Simplifying MLOps Monitoring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BB0F19FC-C064-FC67-030B-E6895AF6152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4559" y="6523002"/>
            <a:ext cx="5226261" cy="205613"/>
          </a:xfrm>
        </p:spPr>
        <p:txBody>
          <a:bodyPr/>
          <a:lstStyle/>
          <a:p>
            <a:endParaRPr lang="en-US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7850863"/>
              </p:ext>
            </p:extLst>
          </p:nvPr>
        </p:nvGraphicFramePr>
        <p:xfrm>
          <a:off x="283465" y="1581912"/>
          <a:ext cx="8716660" cy="3264408"/>
        </p:xfrm>
        <a:graphic>
          <a:graphicData uri="http://schemas.openxmlformats.org/drawingml/2006/table">
            <a:tbl>
              <a:tblPr firstRow="1" bandRow="1">
                <a:solidFill>
                  <a:schemeClr val="bg1">
                    <a:lumMod val="95000"/>
                  </a:schemeClr>
                </a:solidFill>
                <a:tableStyleId>{3B4B98B0-60AC-42C2-AFA5-B58CD77FA1E5}</a:tableStyleId>
              </a:tblPr>
              <a:tblGrid>
                <a:gridCol w="24672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136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3570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89019">
                <a:tc>
                  <a:txBody>
                    <a:bodyPr/>
                    <a:lstStyle/>
                    <a:p>
                      <a:pPr>
                        <a:defRPr sz="1600" b="1">
                          <a:solidFill>
                            <a:srgbClr val="FFFFFF"/>
                          </a:solidFill>
                        </a:defRPr>
                      </a:pPr>
                      <a:r>
                        <a:rPr lang="en-IN" sz="1100" b="0" cap="none" spc="0">
                          <a:solidFill>
                            <a:schemeClr val="bg1"/>
                          </a:solidFill>
                        </a:rPr>
                        <a:t>SDK Component</a:t>
                      </a:r>
                    </a:p>
                  </a:txBody>
                  <a:tcPr marL="55591" marR="55591" marT="65147" marB="2779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600" b="1">
                          <a:solidFill>
                            <a:srgbClr val="FFFFFF"/>
                          </a:solidFill>
                        </a:defRPr>
                      </a:pPr>
                      <a:r>
                        <a:rPr lang="en-IN" sz="1100" b="0" cap="none" spc="0" dirty="0">
                          <a:solidFill>
                            <a:schemeClr val="bg1"/>
                          </a:solidFill>
                        </a:rPr>
                        <a:t>Purpose</a:t>
                      </a:r>
                    </a:p>
                  </a:txBody>
                  <a:tcPr marL="55591" marR="55591" marT="65147" marB="2779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600" b="1">
                          <a:solidFill>
                            <a:srgbClr val="FFFFFF"/>
                          </a:solidFill>
                        </a:defRPr>
                      </a:pPr>
                      <a:r>
                        <a:rPr lang="en-IN" sz="1100" b="0" cap="none" spc="0" dirty="0">
                          <a:solidFill>
                            <a:schemeClr val="bg1"/>
                          </a:solidFill>
                        </a:rPr>
                        <a:t>Outputs</a:t>
                      </a:r>
                    </a:p>
                  </a:txBody>
                  <a:tcPr marL="55591" marR="55591" marT="65147" marB="2779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51792"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IN" sz="900" cap="none" spc="0">
                          <a:solidFill>
                            <a:schemeClr val="tx1"/>
                          </a:solidFill>
                        </a:rPr>
                        <a:t>DataDriftSDK</a:t>
                      </a:r>
                    </a:p>
                  </a:txBody>
                  <a:tcPr marL="55591" marR="55591" marT="65147" marB="2779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900" cap="none" spc="0">
                          <a:solidFill>
                            <a:schemeClr val="tx1"/>
                          </a:solidFill>
                        </a:rPr>
                        <a:t>Detects distribution shifts between training and scoring datasets</a:t>
                      </a:r>
                    </a:p>
                  </a:txBody>
                  <a:tcPr marL="55591" marR="55591" marT="65147" marB="2779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IN" sz="900" cap="none" spc="0" dirty="0">
                          <a:solidFill>
                            <a:schemeClr val="tx1"/>
                          </a:solidFill>
                        </a:rPr>
                        <a:t>Drift metrics indicating data distribution changes</a:t>
                      </a:r>
                    </a:p>
                  </a:txBody>
                  <a:tcPr marL="55591" marR="55591" marT="65147" marB="2779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51792"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IN" sz="900" cap="none" spc="0">
                          <a:solidFill>
                            <a:schemeClr val="tx1"/>
                          </a:solidFill>
                        </a:rPr>
                        <a:t>DataQualitySDK</a:t>
                      </a:r>
                    </a:p>
                  </a:txBody>
                  <a:tcPr marL="55591" marR="55591" marT="65147" marB="2779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900" cap="none" spc="0" dirty="0">
                          <a:solidFill>
                            <a:schemeClr val="tx1"/>
                          </a:solidFill>
                        </a:rPr>
                        <a:t>Profiles key data quality metrics including missing values and outliers</a:t>
                      </a:r>
                    </a:p>
                  </a:txBody>
                  <a:tcPr marL="55591" marR="55591" marT="65147" marB="2779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900" cap="none" spc="0">
                          <a:solidFill>
                            <a:schemeClr val="tx1"/>
                          </a:solidFill>
                        </a:rPr>
                        <a:t>Data quality reports highlighting anomalies</a:t>
                      </a:r>
                    </a:p>
                  </a:txBody>
                  <a:tcPr marL="55591" marR="55591" marT="65147" marB="2779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71805"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IN" sz="900" cap="none" spc="0">
                          <a:solidFill>
                            <a:schemeClr val="tx1"/>
                          </a:solidFill>
                        </a:rPr>
                        <a:t>ModelMonitoringSDK</a:t>
                      </a:r>
                    </a:p>
                  </a:txBody>
                  <a:tcPr marL="55591" marR="55591" marT="65147" marB="2779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900" cap="none" spc="0" dirty="0">
                          <a:solidFill>
                            <a:schemeClr val="tx1"/>
                          </a:solidFill>
                        </a:rPr>
                        <a:t>Evaluates classification and regression models with metrics and SHAP explainability integrating drift insights</a:t>
                      </a:r>
                    </a:p>
                  </a:txBody>
                  <a:tcPr marL="55591" marR="55591" marT="65147" marB="2779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900" cap="none" spc="0" dirty="0">
                          <a:solidFill>
                            <a:schemeClr val="tx1"/>
                          </a:solidFill>
                        </a:rPr>
                        <a:t>Model performance metrics &amp; explainability integrated with drift data</a:t>
                      </a:r>
                    </a:p>
                  </a:txBody>
                  <a:tcPr marL="55591" marR="55591" marT="65147" marB="2779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  <p:transition spd="slow">
    <p:push dir="u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0B906215-001C-4695-2324-B866919D7B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4076AD-8F3B-F54B-A675-3F37825FED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559" y="161605"/>
            <a:ext cx="7455190" cy="685801"/>
          </a:xfrm>
        </p:spPr>
        <p:txBody>
          <a:bodyPr anchor="ctr">
            <a:normAutofit/>
          </a:bodyPr>
          <a:lstStyle/>
          <a:p>
            <a:pPr>
              <a:defRPr sz="3600" b="1">
                <a:solidFill>
                  <a:srgbClr val="1A1A66"/>
                </a:solidFill>
              </a:defRPr>
            </a:pPr>
            <a:r>
              <a:rPr lang="en-IN" sz="2400" dirty="0"/>
              <a:t>Comprehensive Monitoring Utility Advantage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D762E19D-74CA-26DF-F485-58F60B0B6CC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4559" y="6523002"/>
            <a:ext cx="5226261" cy="205613"/>
          </a:xfrm>
        </p:spPr>
        <p:txBody>
          <a:bodyPr/>
          <a:lstStyle/>
          <a:p>
            <a:endParaRPr lang="en-US"/>
          </a:p>
        </p:txBody>
      </p:sp>
      <p:graphicFrame>
        <p:nvGraphicFramePr>
          <p:cNvPr id="19" name="Content Placeholder 2">
            <a:extLst>
              <a:ext uri="{FF2B5EF4-FFF2-40B4-BE49-F238E27FC236}">
                <a16:creationId xmlns:a16="http://schemas.microsoft.com/office/drawing/2014/main" id="{04BC8404-7705-118B-B1BB-56F39D848D33}"/>
              </a:ext>
            </a:extLst>
          </p:cNvPr>
          <p:cNvGraphicFramePr>
            <a:graphicFrameLocks noGrp="1"/>
          </p:cNvGraphicFramePr>
          <p:nvPr>
            <p:ph type="chart" sz="quarter" idx="21"/>
          </p:nvPr>
        </p:nvGraphicFramePr>
        <p:xfrm>
          <a:off x="131333" y="1635010"/>
          <a:ext cx="8747491" cy="44914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342763205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559" y="161606"/>
            <a:ext cx="7455190" cy="685801"/>
          </a:xfrm>
        </p:spPr>
        <p:txBody>
          <a:bodyPr anchor="ctr">
            <a:normAutofit/>
          </a:bodyPr>
          <a:lstStyle/>
          <a:p>
            <a:pPr>
              <a:defRPr sz="3600" b="1">
                <a:solidFill>
                  <a:srgbClr val="1A1A66"/>
                </a:solidFill>
              </a:defRPr>
            </a:pPr>
            <a:r>
              <a:rPr lang="en-US" sz="2800" dirty="0">
                <a:solidFill>
                  <a:schemeClr val="accent2"/>
                </a:solidFill>
              </a:rPr>
              <a:t>DataDriftSDK: Featur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9F7FA8A-041D-77B0-A860-7D4300DA7A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4559" y="6523003"/>
            <a:ext cx="5226261" cy="205613"/>
          </a:xfrm>
        </p:spPr>
        <p:txBody>
          <a:bodyPr/>
          <a:lstStyle/>
          <a:p>
            <a:endParaRPr lang="en-US"/>
          </a:p>
        </p:txBody>
      </p:sp>
      <p:sp>
        <p:nvSpPr>
          <p:cNvPr id="6" name="Rounded Rectangle 1">
            <a:extLst>
              <a:ext uri="{FF2B5EF4-FFF2-40B4-BE49-F238E27FC236}">
                <a16:creationId xmlns:a16="http://schemas.microsoft.com/office/drawing/2014/main" id="{7984F249-8E42-55CC-95F8-72264AEA753E}"/>
              </a:ext>
            </a:extLst>
          </p:cNvPr>
          <p:cNvSpPr/>
          <p:nvPr/>
        </p:nvSpPr>
        <p:spPr>
          <a:xfrm>
            <a:off x="1689176" y="1707314"/>
            <a:ext cx="1494797" cy="2022140"/>
          </a:xfrm>
          <a:custGeom>
            <a:avLst/>
            <a:gdLst/>
            <a:ahLst/>
            <a:cxnLst/>
            <a:rect l="0" t="0" r="0" b="0"/>
            <a:pathLst>
              <a:path w="1494797" h="2022140">
                <a:moveTo>
                  <a:pt x="1494797" y="1637933"/>
                </a:moveTo>
                <a:cubicBezTo>
                  <a:pt x="1494797" y="1680650"/>
                  <a:pt x="1469341" y="1719248"/>
                  <a:pt x="1430085" y="1736073"/>
                </a:cubicBezTo>
                <a:lnTo>
                  <a:pt x="789457" y="2010627"/>
                </a:lnTo>
                <a:cubicBezTo>
                  <a:pt x="762604" y="2022140"/>
                  <a:pt x="732201" y="2022140"/>
                  <a:pt x="705339" y="2010627"/>
                </a:cubicBezTo>
                <a:lnTo>
                  <a:pt x="64712" y="1736073"/>
                </a:lnTo>
                <a:cubicBezTo>
                  <a:pt x="25456" y="1719248"/>
                  <a:pt x="0" y="1680650"/>
                  <a:pt x="0" y="1637933"/>
                </a:cubicBezTo>
                <a:lnTo>
                  <a:pt x="0" y="106771"/>
                </a:lnTo>
                <a:cubicBezTo>
                  <a:pt x="0" y="47806"/>
                  <a:pt x="47806" y="0"/>
                  <a:pt x="106771" y="0"/>
                </a:cubicBezTo>
                <a:lnTo>
                  <a:pt x="1388026" y="0"/>
                </a:lnTo>
                <a:cubicBezTo>
                  <a:pt x="1446990" y="0"/>
                  <a:pt x="1494797" y="47806"/>
                  <a:pt x="1494797" y="106771"/>
                </a:cubicBezTo>
                <a:lnTo>
                  <a:pt x="1494797" y="1637933"/>
                </a:lnTo>
              </a:path>
            </a:pathLst>
          </a:custGeom>
          <a:solidFill>
            <a:srgbClr val="FFFBDA"/>
          </a:solidFill>
          <a:ln>
            <a:noFill/>
          </a:ln>
        </p:spPr>
        <p:txBody>
          <a:bodyPr rtlCol="0" anchor="ctr"/>
          <a:lstStyle/>
          <a:p>
            <a:pPr algn="ctr"/>
            <a:endParaRPr/>
          </a:p>
        </p:txBody>
      </p:sp>
      <p:sp>
        <p:nvSpPr>
          <p:cNvPr id="7" name="Rounded Rectangle 2">
            <a:extLst>
              <a:ext uri="{FF2B5EF4-FFF2-40B4-BE49-F238E27FC236}">
                <a16:creationId xmlns:a16="http://schemas.microsoft.com/office/drawing/2014/main" id="{A7F98B8D-59E8-AA34-1528-91AB9D8AD0A6}"/>
              </a:ext>
            </a:extLst>
          </p:cNvPr>
          <p:cNvSpPr/>
          <p:nvPr/>
        </p:nvSpPr>
        <p:spPr>
          <a:xfrm>
            <a:off x="1689176" y="1707314"/>
            <a:ext cx="1494797" cy="2022139"/>
          </a:xfrm>
          <a:custGeom>
            <a:avLst/>
            <a:gdLst/>
            <a:ahLst/>
            <a:cxnLst/>
            <a:rect l="0" t="0" r="0" b="0"/>
            <a:pathLst>
              <a:path w="1494797" h="2022139">
                <a:moveTo>
                  <a:pt x="1494797" y="106771"/>
                </a:moveTo>
                <a:cubicBezTo>
                  <a:pt x="1494797" y="47803"/>
                  <a:pt x="1446994" y="0"/>
                  <a:pt x="1388026" y="0"/>
                </a:cubicBezTo>
                <a:lnTo>
                  <a:pt x="106771" y="0"/>
                </a:lnTo>
                <a:cubicBezTo>
                  <a:pt x="47803" y="0"/>
                  <a:pt x="0" y="47803"/>
                  <a:pt x="0" y="106771"/>
                </a:cubicBezTo>
                <a:moveTo>
                  <a:pt x="1494797" y="1601566"/>
                </a:moveTo>
                <a:lnTo>
                  <a:pt x="1494797" y="106771"/>
                </a:lnTo>
                <a:moveTo>
                  <a:pt x="0" y="1601566"/>
                </a:moveTo>
                <a:lnTo>
                  <a:pt x="0" y="106771"/>
                </a:lnTo>
                <a:moveTo>
                  <a:pt x="1494797" y="1601568"/>
                </a:moveTo>
                <a:lnTo>
                  <a:pt x="1494797" y="1637935"/>
                </a:lnTo>
                <a:cubicBezTo>
                  <a:pt x="1494797" y="1680647"/>
                  <a:pt x="1469343" y="1719248"/>
                  <a:pt x="1430085" y="1736073"/>
                </a:cubicBezTo>
                <a:lnTo>
                  <a:pt x="789457" y="2010628"/>
                </a:lnTo>
                <a:cubicBezTo>
                  <a:pt x="762600" y="2022139"/>
                  <a:pt x="732198" y="2022139"/>
                  <a:pt x="705339" y="2010628"/>
                </a:cubicBezTo>
                <a:lnTo>
                  <a:pt x="64712" y="1736073"/>
                </a:lnTo>
                <a:cubicBezTo>
                  <a:pt x="25454" y="1719248"/>
                  <a:pt x="0" y="1680647"/>
                  <a:pt x="0" y="1637935"/>
                </a:cubicBezTo>
                <a:lnTo>
                  <a:pt x="0" y="1601568"/>
                </a:lnTo>
              </a:path>
            </a:pathLst>
          </a:custGeom>
          <a:noFill/>
          <a:ln w="13346">
            <a:solidFill>
              <a:srgbClr val="E0CB15"/>
            </a:solidFill>
          </a:ln>
        </p:spPr>
        <p:txBody>
          <a:bodyPr rtlCol="0" anchor="ctr"/>
          <a:lstStyle/>
          <a:p>
            <a:pPr algn="ctr"/>
            <a:endParaRPr/>
          </a:p>
        </p:txBody>
      </p:sp>
      <p:sp>
        <p:nvSpPr>
          <p:cNvPr id="8" name="Rounded Rectangle 3">
            <a:extLst>
              <a:ext uri="{FF2B5EF4-FFF2-40B4-BE49-F238E27FC236}">
                <a16:creationId xmlns:a16="http://schemas.microsoft.com/office/drawing/2014/main" id="{ED686B02-5B9A-198A-F0C0-F98A08314E5C}"/>
              </a:ext>
            </a:extLst>
          </p:cNvPr>
          <p:cNvSpPr/>
          <p:nvPr/>
        </p:nvSpPr>
        <p:spPr>
          <a:xfrm>
            <a:off x="3397516" y="1707314"/>
            <a:ext cx="1494797" cy="2022140"/>
          </a:xfrm>
          <a:custGeom>
            <a:avLst/>
            <a:gdLst/>
            <a:ahLst/>
            <a:cxnLst/>
            <a:rect l="0" t="0" r="0" b="0"/>
            <a:pathLst>
              <a:path w="1494797" h="2022140">
                <a:moveTo>
                  <a:pt x="1494797" y="1637933"/>
                </a:moveTo>
                <a:cubicBezTo>
                  <a:pt x="1494797" y="1680650"/>
                  <a:pt x="1469341" y="1719248"/>
                  <a:pt x="1430085" y="1736073"/>
                </a:cubicBezTo>
                <a:lnTo>
                  <a:pt x="789457" y="2010627"/>
                </a:lnTo>
                <a:cubicBezTo>
                  <a:pt x="762604" y="2022140"/>
                  <a:pt x="732201" y="2022140"/>
                  <a:pt x="705339" y="2010627"/>
                </a:cubicBezTo>
                <a:lnTo>
                  <a:pt x="64712" y="1736073"/>
                </a:lnTo>
                <a:cubicBezTo>
                  <a:pt x="25456" y="1719248"/>
                  <a:pt x="0" y="1680650"/>
                  <a:pt x="0" y="1637933"/>
                </a:cubicBezTo>
                <a:lnTo>
                  <a:pt x="0" y="106771"/>
                </a:lnTo>
                <a:cubicBezTo>
                  <a:pt x="0" y="47806"/>
                  <a:pt x="47806" y="0"/>
                  <a:pt x="106771" y="0"/>
                </a:cubicBezTo>
                <a:lnTo>
                  <a:pt x="1388026" y="0"/>
                </a:lnTo>
                <a:cubicBezTo>
                  <a:pt x="1446990" y="0"/>
                  <a:pt x="1494797" y="47806"/>
                  <a:pt x="1494797" y="106771"/>
                </a:cubicBezTo>
                <a:lnTo>
                  <a:pt x="1494797" y="1637933"/>
                </a:lnTo>
              </a:path>
            </a:pathLst>
          </a:custGeom>
          <a:solidFill>
            <a:srgbClr val="FFECEB"/>
          </a:solidFill>
          <a:ln>
            <a:noFill/>
          </a:ln>
        </p:spPr>
        <p:txBody>
          <a:bodyPr rtlCol="0" anchor="ctr"/>
          <a:lstStyle/>
          <a:p>
            <a:pPr algn="ctr"/>
            <a:endParaRPr/>
          </a:p>
        </p:txBody>
      </p:sp>
      <p:sp>
        <p:nvSpPr>
          <p:cNvPr id="9" name="Rounded Rectangle 4">
            <a:extLst>
              <a:ext uri="{FF2B5EF4-FFF2-40B4-BE49-F238E27FC236}">
                <a16:creationId xmlns:a16="http://schemas.microsoft.com/office/drawing/2014/main" id="{80F3EE1C-38BD-F10A-E586-932DC25AA2CF}"/>
              </a:ext>
            </a:extLst>
          </p:cNvPr>
          <p:cNvSpPr/>
          <p:nvPr/>
        </p:nvSpPr>
        <p:spPr>
          <a:xfrm>
            <a:off x="3397516" y="1707314"/>
            <a:ext cx="1494797" cy="2022139"/>
          </a:xfrm>
          <a:custGeom>
            <a:avLst/>
            <a:gdLst/>
            <a:ahLst/>
            <a:cxnLst/>
            <a:rect l="0" t="0" r="0" b="0"/>
            <a:pathLst>
              <a:path w="1494797" h="2022139">
                <a:moveTo>
                  <a:pt x="1494797" y="106771"/>
                </a:moveTo>
                <a:cubicBezTo>
                  <a:pt x="1494797" y="47803"/>
                  <a:pt x="1446994" y="0"/>
                  <a:pt x="1388026" y="0"/>
                </a:cubicBezTo>
                <a:lnTo>
                  <a:pt x="106771" y="0"/>
                </a:lnTo>
                <a:cubicBezTo>
                  <a:pt x="47803" y="0"/>
                  <a:pt x="0" y="47803"/>
                  <a:pt x="0" y="106771"/>
                </a:cubicBezTo>
                <a:moveTo>
                  <a:pt x="1494797" y="1601566"/>
                </a:moveTo>
                <a:lnTo>
                  <a:pt x="1494797" y="106771"/>
                </a:lnTo>
                <a:moveTo>
                  <a:pt x="0" y="1601566"/>
                </a:moveTo>
                <a:lnTo>
                  <a:pt x="0" y="106771"/>
                </a:lnTo>
                <a:moveTo>
                  <a:pt x="1494797" y="1601568"/>
                </a:moveTo>
                <a:lnTo>
                  <a:pt x="1494797" y="1637935"/>
                </a:lnTo>
                <a:cubicBezTo>
                  <a:pt x="1494797" y="1680647"/>
                  <a:pt x="1469343" y="1719248"/>
                  <a:pt x="1430085" y="1736073"/>
                </a:cubicBezTo>
                <a:lnTo>
                  <a:pt x="789457" y="2010628"/>
                </a:lnTo>
                <a:cubicBezTo>
                  <a:pt x="762600" y="2022139"/>
                  <a:pt x="732198" y="2022139"/>
                  <a:pt x="705339" y="2010628"/>
                </a:cubicBezTo>
                <a:lnTo>
                  <a:pt x="64712" y="1736073"/>
                </a:lnTo>
                <a:cubicBezTo>
                  <a:pt x="25454" y="1719248"/>
                  <a:pt x="0" y="1680647"/>
                  <a:pt x="0" y="1637935"/>
                </a:cubicBezTo>
                <a:lnTo>
                  <a:pt x="0" y="1601568"/>
                </a:lnTo>
              </a:path>
            </a:pathLst>
          </a:custGeom>
          <a:noFill/>
          <a:ln w="13346">
            <a:solidFill>
              <a:srgbClr val="E55753"/>
            </a:solidFill>
          </a:ln>
        </p:spPr>
        <p:txBody>
          <a:bodyPr rtlCol="0" anchor="ctr"/>
          <a:lstStyle/>
          <a:p>
            <a:pPr algn="ctr"/>
            <a:endParaRPr/>
          </a:p>
        </p:txBody>
      </p:sp>
      <p:sp>
        <p:nvSpPr>
          <p:cNvPr id="11" name="Rounded Rectangle 5">
            <a:extLst>
              <a:ext uri="{FF2B5EF4-FFF2-40B4-BE49-F238E27FC236}">
                <a16:creationId xmlns:a16="http://schemas.microsoft.com/office/drawing/2014/main" id="{48A125CB-E0C5-61C5-B5E9-CB1E2531478F}"/>
              </a:ext>
            </a:extLst>
          </p:cNvPr>
          <p:cNvSpPr/>
          <p:nvPr/>
        </p:nvSpPr>
        <p:spPr>
          <a:xfrm>
            <a:off x="5105856" y="1707314"/>
            <a:ext cx="1494797" cy="2022140"/>
          </a:xfrm>
          <a:custGeom>
            <a:avLst/>
            <a:gdLst/>
            <a:ahLst/>
            <a:cxnLst/>
            <a:rect l="0" t="0" r="0" b="0"/>
            <a:pathLst>
              <a:path w="1494797" h="2022140">
                <a:moveTo>
                  <a:pt x="1494797" y="1637933"/>
                </a:moveTo>
                <a:cubicBezTo>
                  <a:pt x="1494797" y="1680650"/>
                  <a:pt x="1469341" y="1719248"/>
                  <a:pt x="1430085" y="1736073"/>
                </a:cubicBezTo>
                <a:lnTo>
                  <a:pt x="789457" y="2010627"/>
                </a:lnTo>
                <a:cubicBezTo>
                  <a:pt x="762604" y="2022140"/>
                  <a:pt x="732201" y="2022140"/>
                  <a:pt x="705339" y="2010627"/>
                </a:cubicBezTo>
                <a:lnTo>
                  <a:pt x="64712" y="1736073"/>
                </a:lnTo>
                <a:cubicBezTo>
                  <a:pt x="25456" y="1719248"/>
                  <a:pt x="0" y="1680650"/>
                  <a:pt x="0" y="1637933"/>
                </a:cubicBezTo>
                <a:lnTo>
                  <a:pt x="0" y="106771"/>
                </a:lnTo>
                <a:cubicBezTo>
                  <a:pt x="0" y="47806"/>
                  <a:pt x="47806" y="0"/>
                  <a:pt x="106771" y="0"/>
                </a:cubicBezTo>
                <a:lnTo>
                  <a:pt x="1388026" y="0"/>
                </a:lnTo>
                <a:cubicBezTo>
                  <a:pt x="1446990" y="0"/>
                  <a:pt x="1494797" y="47806"/>
                  <a:pt x="1494797" y="106771"/>
                </a:cubicBezTo>
                <a:lnTo>
                  <a:pt x="1494797" y="1637933"/>
                </a:lnTo>
              </a:path>
            </a:pathLst>
          </a:custGeom>
          <a:solidFill>
            <a:srgbClr val="FAF0FF"/>
          </a:solidFill>
          <a:ln>
            <a:noFill/>
          </a:ln>
        </p:spPr>
        <p:txBody>
          <a:bodyPr rtlCol="0" anchor="ctr"/>
          <a:lstStyle/>
          <a:p>
            <a:pPr algn="ctr"/>
            <a:endParaRPr/>
          </a:p>
        </p:txBody>
      </p:sp>
      <p:sp>
        <p:nvSpPr>
          <p:cNvPr id="12" name="Rounded Rectangle 6">
            <a:extLst>
              <a:ext uri="{FF2B5EF4-FFF2-40B4-BE49-F238E27FC236}">
                <a16:creationId xmlns:a16="http://schemas.microsoft.com/office/drawing/2014/main" id="{1225C828-4DF5-916F-7B29-20AE4D29A704}"/>
              </a:ext>
            </a:extLst>
          </p:cNvPr>
          <p:cNvSpPr/>
          <p:nvPr/>
        </p:nvSpPr>
        <p:spPr>
          <a:xfrm>
            <a:off x="5105856" y="1707314"/>
            <a:ext cx="1494797" cy="2022139"/>
          </a:xfrm>
          <a:custGeom>
            <a:avLst/>
            <a:gdLst/>
            <a:ahLst/>
            <a:cxnLst/>
            <a:rect l="0" t="0" r="0" b="0"/>
            <a:pathLst>
              <a:path w="1494797" h="2022139">
                <a:moveTo>
                  <a:pt x="1494797" y="106771"/>
                </a:moveTo>
                <a:cubicBezTo>
                  <a:pt x="1494797" y="47803"/>
                  <a:pt x="1446994" y="0"/>
                  <a:pt x="1388026" y="0"/>
                </a:cubicBezTo>
                <a:lnTo>
                  <a:pt x="106771" y="0"/>
                </a:lnTo>
                <a:cubicBezTo>
                  <a:pt x="47803" y="0"/>
                  <a:pt x="0" y="47803"/>
                  <a:pt x="0" y="106771"/>
                </a:cubicBezTo>
                <a:moveTo>
                  <a:pt x="1494797" y="1601566"/>
                </a:moveTo>
                <a:lnTo>
                  <a:pt x="1494797" y="106771"/>
                </a:lnTo>
                <a:moveTo>
                  <a:pt x="0" y="1601566"/>
                </a:moveTo>
                <a:lnTo>
                  <a:pt x="0" y="106771"/>
                </a:lnTo>
                <a:moveTo>
                  <a:pt x="1494797" y="1601568"/>
                </a:moveTo>
                <a:lnTo>
                  <a:pt x="1494797" y="1637935"/>
                </a:lnTo>
                <a:cubicBezTo>
                  <a:pt x="1494797" y="1680647"/>
                  <a:pt x="1469343" y="1719248"/>
                  <a:pt x="1430085" y="1736073"/>
                </a:cubicBezTo>
                <a:lnTo>
                  <a:pt x="789457" y="2010628"/>
                </a:lnTo>
                <a:cubicBezTo>
                  <a:pt x="762600" y="2022139"/>
                  <a:pt x="732198" y="2022139"/>
                  <a:pt x="705339" y="2010628"/>
                </a:cubicBezTo>
                <a:lnTo>
                  <a:pt x="64712" y="1736073"/>
                </a:lnTo>
                <a:cubicBezTo>
                  <a:pt x="25454" y="1719248"/>
                  <a:pt x="0" y="1680647"/>
                  <a:pt x="0" y="1637935"/>
                </a:cubicBezTo>
                <a:lnTo>
                  <a:pt x="0" y="1601568"/>
                </a:lnTo>
              </a:path>
            </a:pathLst>
          </a:custGeom>
          <a:noFill/>
          <a:ln w="13346">
            <a:solidFill>
              <a:srgbClr val="BA5DE5"/>
            </a:solidFill>
          </a:ln>
        </p:spPr>
        <p:txBody>
          <a:bodyPr rtlCol="0" anchor="ctr"/>
          <a:lstStyle/>
          <a:p>
            <a:pPr algn="ctr"/>
            <a:endParaRPr/>
          </a:p>
        </p:txBody>
      </p:sp>
      <p:sp>
        <p:nvSpPr>
          <p:cNvPr id="13" name="Rounded Rectangle 7">
            <a:extLst>
              <a:ext uri="{FF2B5EF4-FFF2-40B4-BE49-F238E27FC236}">
                <a16:creationId xmlns:a16="http://schemas.microsoft.com/office/drawing/2014/main" id="{CAFAA65B-8CE3-3FBB-0BF6-63633F836F15}"/>
              </a:ext>
            </a:extLst>
          </p:cNvPr>
          <p:cNvSpPr/>
          <p:nvPr/>
        </p:nvSpPr>
        <p:spPr>
          <a:xfrm>
            <a:off x="2543346" y="3599630"/>
            <a:ext cx="1494797" cy="2236172"/>
          </a:xfrm>
          <a:custGeom>
            <a:avLst/>
            <a:gdLst/>
            <a:ahLst/>
            <a:cxnLst/>
            <a:rect l="0" t="0" r="0" b="0"/>
            <a:pathLst>
              <a:path w="1494797" h="2236172">
                <a:moveTo>
                  <a:pt x="0" y="384198"/>
                </a:moveTo>
                <a:cubicBezTo>
                  <a:pt x="0" y="341490"/>
                  <a:pt x="25456" y="302883"/>
                  <a:pt x="64712" y="286057"/>
                </a:cubicBezTo>
                <a:lnTo>
                  <a:pt x="705339" y="11504"/>
                </a:lnTo>
                <a:cubicBezTo>
                  <a:pt x="732192" y="0"/>
                  <a:pt x="762604" y="0"/>
                  <a:pt x="789457" y="11504"/>
                </a:cubicBezTo>
                <a:lnTo>
                  <a:pt x="1430085" y="286057"/>
                </a:lnTo>
                <a:cubicBezTo>
                  <a:pt x="1469341" y="302883"/>
                  <a:pt x="1494797" y="341490"/>
                  <a:pt x="1494797" y="384198"/>
                </a:cubicBezTo>
                <a:lnTo>
                  <a:pt x="1494797" y="2129401"/>
                </a:lnTo>
                <a:cubicBezTo>
                  <a:pt x="1494797" y="2188365"/>
                  <a:pt x="1446990" y="2236172"/>
                  <a:pt x="1388026" y="2236172"/>
                </a:cubicBezTo>
                <a:lnTo>
                  <a:pt x="106771" y="2236172"/>
                </a:lnTo>
                <a:cubicBezTo>
                  <a:pt x="47806" y="2236172"/>
                  <a:pt x="0" y="2188365"/>
                  <a:pt x="0" y="2129401"/>
                </a:cubicBezTo>
                <a:lnTo>
                  <a:pt x="0" y="384198"/>
                </a:lnTo>
              </a:path>
            </a:pathLst>
          </a:custGeom>
          <a:solidFill>
            <a:srgbClr val="FFF2E5"/>
          </a:solidFill>
          <a:ln>
            <a:noFill/>
          </a:ln>
        </p:spPr>
        <p:txBody>
          <a:bodyPr rtlCol="0" anchor="ctr"/>
          <a:lstStyle/>
          <a:p>
            <a:pPr algn="ctr"/>
            <a:endParaRPr/>
          </a:p>
        </p:txBody>
      </p:sp>
      <p:sp>
        <p:nvSpPr>
          <p:cNvPr id="14" name="Rounded Rectangle 8">
            <a:extLst>
              <a:ext uri="{FF2B5EF4-FFF2-40B4-BE49-F238E27FC236}">
                <a16:creationId xmlns:a16="http://schemas.microsoft.com/office/drawing/2014/main" id="{68A136DD-3B67-08E4-6D14-70EDA86A9897}"/>
              </a:ext>
            </a:extLst>
          </p:cNvPr>
          <p:cNvSpPr/>
          <p:nvPr/>
        </p:nvSpPr>
        <p:spPr>
          <a:xfrm>
            <a:off x="2543346" y="3599627"/>
            <a:ext cx="1494797" cy="2236175"/>
          </a:xfrm>
          <a:custGeom>
            <a:avLst/>
            <a:gdLst/>
            <a:ahLst/>
            <a:cxnLst/>
            <a:rect l="0" t="0" r="0" b="0"/>
            <a:pathLst>
              <a:path w="1494797" h="2236175">
                <a:moveTo>
                  <a:pt x="0" y="2129404"/>
                </a:moveTo>
                <a:cubicBezTo>
                  <a:pt x="0" y="2188372"/>
                  <a:pt x="47803" y="2236175"/>
                  <a:pt x="106771" y="2236175"/>
                </a:cubicBezTo>
                <a:lnTo>
                  <a:pt x="1388026" y="2236175"/>
                </a:lnTo>
                <a:cubicBezTo>
                  <a:pt x="1446994" y="2236175"/>
                  <a:pt x="1494797" y="2188372"/>
                  <a:pt x="1494797" y="2129404"/>
                </a:cubicBezTo>
                <a:moveTo>
                  <a:pt x="1494797" y="2129402"/>
                </a:moveTo>
                <a:lnTo>
                  <a:pt x="1494797" y="421064"/>
                </a:lnTo>
                <a:moveTo>
                  <a:pt x="0" y="2129402"/>
                </a:moveTo>
                <a:lnTo>
                  <a:pt x="0" y="421064"/>
                </a:lnTo>
                <a:moveTo>
                  <a:pt x="0" y="420570"/>
                </a:moveTo>
                <a:lnTo>
                  <a:pt x="0" y="384203"/>
                </a:lnTo>
                <a:cubicBezTo>
                  <a:pt x="0" y="341491"/>
                  <a:pt x="25454" y="302889"/>
                  <a:pt x="64712" y="286065"/>
                </a:cubicBezTo>
                <a:lnTo>
                  <a:pt x="705339" y="11510"/>
                </a:lnTo>
                <a:cubicBezTo>
                  <a:pt x="732197" y="0"/>
                  <a:pt x="762600" y="0"/>
                  <a:pt x="789457" y="11510"/>
                </a:cubicBezTo>
                <a:lnTo>
                  <a:pt x="1430085" y="286065"/>
                </a:lnTo>
                <a:cubicBezTo>
                  <a:pt x="1469343" y="302889"/>
                  <a:pt x="1494797" y="341491"/>
                  <a:pt x="1494797" y="384203"/>
                </a:cubicBezTo>
                <a:lnTo>
                  <a:pt x="1494797" y="420570"/>
                </a:lnTo>
              </a:path>
            </a:pathLst>
          </a:custGeom>
          <a:noFill/>
          <a:ln w="13346">
            <a:solidFill>
              <a:srgbClr val="DE8431"/>
            </a:solidFill>
          </a:ln>
        </p:spPr>
        <p:txBody>
          <a:bodyPr rtlCol="0" anchor="ctr"/>
          <a:lstStyle/>
          <a:p>
            <a:pPr algn="ctr"/>
            <a:endParaRPr/>
          </a:p>
        </p:txBody>
      </p:sp>
      <p:sp>
        <p:nvSpPr>
          <p:cNvPr id="15" name="Rounded Rectangle 9">
            <a:extLst>
              <a:ext uri="{FF2B5EF4-FFF2-40B4-BE49-F238E27FC236}">
                <a16:creationId xmlns:a16="http://schemas.microsoft.com/office/drawing/2014/main" id="{97AC6853-FCC9-6CF2-4B10-F4C36B8302F4}"/>
              </a:ext>
            </a:extLst>
          </p:cNvPr>
          <p:cNvSpPr/>
          <p:nvPr/>
        </p:nvSpPr>
        <p:spPr>
          <a:xfrm>
            <a:off x="4251686" y="3599630"/>
            <a:ext cx="1494797" cy="2236172"/>
          </a:xfrm>
          <a:custGeom>
            <a:avLst/>
            <a:gdLst/>
            <a:ahLst/>
            <a:cxnLst/>
            <a:rect l="0" t="0" r="0" b="0"/>
            <a:pathLst>
              <a:path w="1494797" h="2236172">
                <a:moveTo>
                  <a:pt x="0" y="384198"/>
                </a:moveTo>
                <a:cubicBezTo>
                  <a:pt x="0" y="341490"/>
                  <a:pt x="25456" y="302883"/>
                  <a:pt x="64712" y="286057"/>
                </a:cubicBezTo>
                <a:lnTo>
                  <a:pt x="705339" y="11504"/>
                </a:lnTo>
                <a:cubicBezTo>
                  <a:pt x="732192" y="0"/>
                  <a:pt x="762604" y="0"/>
                  <a:pt x="789457" y="11504"/>
                </a:cubicBezTo>
                <a:lnTo>
                  <a:pt x="1430085" y="286057"/>
                </a:lnTo>
                <a:cubicBezTo>
                  <a:pt x="1469341" y="302883"/>
                  <a:pt x="1494797" y="341490"/>
                  <a:pt x="1494797" y="384198"/>
                </a:cubicBezTo>
                <a:lnTo>
                  <a:pt x="1494797" y="2129401"/>
                </a:lnTo>
                <a:cubicBezTo>
                  <a:pt x="1494797" y="2188374"/>
                  <a:pt x="1446990" y="2236172"/>
                  <a:pt x="1388026" y="2236172"/>
                </a:cubicBezTo>
                <a:lnTo>
                  <a:pt x="106771" y="2236172"/>
                </a:lnTo>
                <a:cubicBezTo>
                  <a:pt x="47806" y="2236172"/>
                  <a:pt x="0" y="2188365"/>
                  <a:pt x="0" y="2129401"/>
                </a:cubicBezTo>
                <a:lnTo>
                  <a:pt x="0" y="384198"/>
                </a:lnTo>
              </a:path>
            </a:pathLst>
          </a:custGeom>
          <a:solidFill>
            <a:srgbClr val="FFEBF7"/>
          </a:solidFill>
          <a:ln>
            <a:noFill/>
          </a:ln>
        </p:spPr>
        <p:txBody>
          <a:bodyPr rtlCol="0" anchor="ctr"/>
          <a:lstStyle/>
          <a:p>
            <a:pPr algn="ctr"/>
            <a:endParaRPr/>
          </a:p>
        </p:txBody>
      </p:sp>
      <p:sp>
        <p:nvSpPr>
          <p:cNvPr id="16" name="Rounded Rectangle 10">
            <a:extLst>
              <a:ext uri="{FF2B5EF4-FFF2-40B4-BE49-F238E27FC236}">
                <a16:creationId xmlns:a16="http://schemas.microsoft.com/office/drawing/2014/main" id="{CE8F56F2-DC2C-2D30-0704-39146621F82B}"/>
              </a:ext>
            </a:extLst>
          </p:cNvPr>
          <p:cNvSpPr/>
          <p:nvPr/>
        </p:nvSpPr>
        <p:spPr>
          <a:xfrm>
            <a:off x="4251686" y="3599627"/>
            <a:ext cx="1494797" cy="2236176"/>
          </a:xfrm>
          <a:custGeom>
            <a:avLst/>
            <a:gdLst/>
            <a:ahLst/>
            <a:cxnLst/>
            <a:rect l="0" t="0" r="0" b="0"/>
            <a:pathLst>
              <a:path w="1494797" h="2236176">
                <a:moveTo>
                  <a:pt x="0" y="2129404"/>
                </a:moveTo>
                <a:cubicBezTo>
                  <a:pt x="0" y="2188372"/>
                  <a:pt x="47803" y="2236176"/>
                  <a:pt x="106771" y="2236176"/>
                </a:cubicBezTo>
                <a:lnTo>
                  <a:pt x="1388026" y="2236176"/>
                </a:lnTo>
                <a:cubicBezTo>
                  <a:pt x="1446994" y="2236176"/>
                  <a:pt x="1494797" y="2188372"/>
                  <a:pt x="1494797" y="2129404"/>
                </a:cubicBezTo>
                <a:moveTo>
                  <a:pt x="1494797" y="2129402"/>
                </a:moveTo>
                <a:lnTo>
                  <a:pt x="1494797" y="421064"/>
                </a:lnTo>
                <a:moveTo>
                  <a:pt x="0" y="2129402"/>
                </a:moveTo>
                <a:lnTo>
                  <a:pt x="0" y="421064"/>
                </a:lnTo>
                <a:moveTo>
                  <a:pt x="0" y="420570"/>
                </a:moveTo>
                <a:lnTo>
                  <a:pt x="0" y="384203"/>
                </a:lnTo>
                <a:cubicBezTo>
                  <a:pt x="0" y="341491"/>
                  <a:pt x="25454" y="302889"/>
                  <a:pt x="64712" y="286065"/>
                </a:cubicBezTo>
                <a:lnTo>
                  <a:pt x="705339" y="11510"/>
                </a:lnTo>
                <a:cubicBezTo>
                  <a:pt x="732197" y="0"/>
                  <a:pt x="762600" y="0"/>
                  <a:pt x="789457" y="11510"/>
                </a:cubicBezTo>
                <a:lnTo>
                  <a:pt x="1430085" y="286065"/>
                </a:lnTo>
                <a:cubicBezTo>
                  <a:pt x="1469343" y="302889"/>
                  <a:pt x="1494797" y="341491"/>
                  <a:pt x="1494797" y="384203"/>
                </a:cubicBezTo>
                <a:lnTo>
                  <a:pt x="1494797" y="420570"/>
                </a:lnTo>
              </a:path>
            </a:pathLst>
          </a:custGeom>
          <a:noFill/>
          <a:ln w="13346">
            <a:solidFill>
              <a:srgbClr val="DE58A9"/>
            </a:solidFill>
          </a:ln>
        </p:spPr>
        <p:txBody>
          <a:bodyPr rtlCol="0" anchor="ctr"/>
          <a:lstStyle/>
          <a:p>
            <a:pPr algn="ctr"/>
            <a:endParaRPr/>
          </a:p>
        </p:txBody>
      </p:sp>
      <p:sp>
        <p:nvSpPr>
          <p:cNvPr id="17" name="Rounded Rectangle 11">
            <a:extLst>
              <a:ext uri="{FF2B5EF4-FFF2-40B4-BE49-F238E27FC236}">
                <a16:creationId xmlns:a16="http://schemas.microsoft.com/office/drawing/2014/main" id="{386D71C8-FFFE-7433-ADAE-C98A2700D650}"/>
              </a:ext>
            </a:extLst>
          </p:cNvPr>
          <p:cNvSpPr/>
          <p:nvPr/>
        </p:nvSpPr>
        <p:spPr>
          <a:xfrm>
            <a:off x="5960026" y="3599630"/>
            <a:ext cx="1494797" cy="2236172"/>
          </a:xfrm>
          <a:custGeom>
            <a:avLst/>
            <a:gdLst/>
            <a:ahLst/>
            <a:cxnLst/>
            <a:rect l="0" t="0" r="0" b="0"/>
            <a:pathLst>
              <a:path w="1494797" h="2236172">
                <a:moveTo>
                  <a:pt x="0" y="384198"/>
                </a:moveTo>
                <a:cubicBezTo>
                  <a:pt x="0" y="341490"/>
                  <a:pt x="25456" y="302883"/>
                  <a:pt x="64712" y="286057"/>
                </a:cubicBezTo>
                <a:lnTo>
                  <a:pt x="705339" y="11504"/>
                </a:lnTo>
                <a:cubicBezTo>
                  <a:pt x="732192" y="0"/>
                  <a:pt x="762604" y="0"/>
                  <a:pt x="789457" y="11504"/>
                </a:cubicBezTo>
                <a:lnTo>
                  <a:pt x="1430085" y="286057"/>
                </a:lnTo>
                <a:cubicBezTo>
                  <a:pt x="1469341" y="302883"/>
                  <a:pt x="1494797" y="341490"/>
                  <a:pt x="1494797" y="384198"/>
                </a:cubicBezTo>
                <a:lnTo>
                  <a:pt x="1494797" y="2129401"/>
                </a:lnTo>
                <a:cubicBezTo>
                  <a:pt x="1494797" y="2188374"/>
                  <a:pt x="1446990" y="2236172"/>
                  <a:pt x="1388026" y="2236172"/>
                </a:cubicBezTo>
                <a:lnTo>
                  <a:pt x="106771" y="2236172"/>
                </a:lnTo>
                <a:cubicBezTo>
                  <a:pt x="47806" y="2236172"/>
                  <a:pt x="0" y="2188365"/>
                  <a:pt x="0" y="2129401"/>
                </a:cubicBezTo>
                <a:lnTo>
                  <a:pt x="0" y="384198"/>
                </a:lnTo>
              </a:path>
            </a:pathLst>
          </a:custGeom>
          <a:solidFill>
            <a:srgbClr val="EDF4FF"/>
          </a:solidFill>
          <a:ln>
            <a:noFill/>
          </a:ln>
        </p:spPr>
        <p:txBody>
          <a:bodyPr rtlCol="0" anchor="ctr"/>
          <a:lstStyle/>
          <a:p>
            <a:pPr algn="ctr"/>
            <a:endParaRPr/>
          </a:p>
        </p:txBody>
      </p:sp>
      <p:sp>
        <p:nvSpPr>
          <p:cNvPr id="18" name="Rounded Rectangle 12">
            <a:extLst>
              <a:ext uri="{FF2B5EF4-FFF2-40B4-BE49-F238E27FC236}">
                <a16:creationId xmlns:a16="http://schemas.microsoft.com/office/drawing/2014/main" id="{529D7CD3-1F7A-D2C5-5E58-428E35C5DBF2}"/>
              </a:ext>
            </a:extLst>
          </p:cNvPr>
          <p:cNvSpPr/>
          <p:nvPr/>
        </p:nvSpPr>
        <p:spPr>
          <a:xfrm>
            <a:off x="5960026" y="3599627"/>
            <a:ext cx="1494797" cy="2236176"/>
          </a:xfrm>
          <a:custGeom>
            <a:avLst/>
            <a:gdLst/>
            <a:ahLst/>
            <a:cxnLst/>
            <a:rect l="0" t="0" r="0" b="0"/>
            <a:pathLst>
              <a:path w="1494797" h="2236176">
                <a:moveTo>
                  <a:pt x="0" y="2129404"/>
                </a:moveTo>
                <a:cubicBezTo>
                  <a:pt x="0" y="2188372"/>
                  <a:pt x="47803" y="2236176"/>
                  <a:pt x="106771" y="2236176"/>
                </a:cubicBezTo>
                <a:lnTo>
                  <a:pt x="1388026" y="2236176"/>
                </a:lnTo>
                <a:cubicBezTo>
                  <a:pt x="1446994" y="2236176"/>
                  <a:pt x="1494797" y="2188372"/>
                  <a:pt x="1494797" y="2129404"/>
                </a:cubicBezTo>
                <a:moveTo>
                  <a:pt x="1494797" y="2129402"/>
                </a:moveTo>
                <a:lnTo>
                  <a:pt x="1494797" y="421064"/>
                </a:lnTo>
                <a:moveTo>
                  <a:pt x="0" y="2129402"/>
                </a:moveTo>
                <a:lnTo>
                  <a:pt x="0" y="421064"/>
                </a:lnTo>
                <a:moveTo>
                  <a:pt x="0" y="420570"/>
                </a:moveTo>
                <a:lnTo>
                  <a:pt x="0" y="384203"/>
                </a:lnTo>
                <a:cubicBezTo>
                  <a:pt x="0" y="341491"/>
                  <a:pt x="25454" y="302889"/>
                  <a:pt x="64712" y="286065"/>
                </a:cubicBezTo>
                <a:lnTo>
                  <a:pt x="705339" y="11510"/>
                </a:lnTo>
                <a:cubicBezTo>
                  <a:pt x="732197" y="0"/>
                  <a:pt x="762600" y="0"/>
                  <a:pt x="789457" y="11510"/>
                </a:cubicBezTo>
                <a:lnTo>
                  <a:pt x="1430085" y="286065"/>
                </a:lnTo>
                <a:cubicBezTo>
                  <a:pt x="1469343" y="302889"/>
                  <a:pt x="1494797" y="341491"/>
                  <a:pt x="1494797" y="384203"/>
                </a:cubicBezTo>
                <a:lnTo>
                  <a:pt x="1494797" y="420570"/>
                </a:lnTo>
              </a:path>
            </a:pathLst>
          </a:custGeom>
          <a:noFill/>
          <a:ln w="13346">
            <a:solidFill>
              <a:srgbClr val="4E88E7"/>
            </a:solidFill>
          </a:ln>
        </p:spPr>
        <p:txBody>
          <a:bodyPr rtlCol="0" anchor="ctr"/>
          <a:lstStyle/>
          <a:p>
            <a:pPr algn="ctr"/>
            <a:endParaRPr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782A45B-DB32-7B0B-7B03-769AEF16BB77}"/>
              </a:ext>
            </a:extLst>
          </p:cNvPr>
          <p:cNvSpPr txBox="1"/>
          <p:nvPr/>
        </p:nvSpPr>
        <p:spPr>
          <a:xfrm>
            <a:off x="6165561" y="5101751"/>
            <a:ext cx="1083701" cy="74739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t">
            <a:spAutoFit/>
          </a:bodyPr>
          <a:lstStyle/>
          <a:p>
            <a:pPr algn="ctr"/>
            <a:r>
              <a:rPr sz="1000" b="0">
                <a:solidFill>
                  <a:srgbClr val="507FCC"/>
                </a:solidFill>
                <a:latin typeface="Roboto"/>
              </a:rPr>
              <a:t>Enables proactive
detection of
problematic data
shifts.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81C8A73-F723-324E-F2CB-29F3681B5567}"/>
              </a:ext>
            </a:extLst>
          </p:cNvPr>
          <p:cNvSpPr txBox="1"/>
          <p:nvPr/>
        </p:nvSpPr>
        <p:spPr>
          <a:xfrm>
            <a:off x="1854849" y="2281210"/>
            <a:ext cx="1163361" cy="56054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t">
            <a:spAutoFit/>
          </a:bodyPr>
          <a:lstStyle/>
          <a:p>
            <a:pPr algn="ctr"/>
            <a:r>
              <a:rPr sz="1000" b="0" dirty="0">
                <a:solidFill>
                  <a:srgbClr val="AB9E2B"/>
                </a:solidFill>
                <a:latin typeface="Roboto"/>
              </a:rPr>
              <a:t>Calculates detailed
data drift metrics
using Evidently AI.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6B2D58B-5185-E45D-A7E1-03C86755F50E}"/>
              </a:ext>
            </a:extLst>
          </p:cNvPr>
          <p:cNvSpPr txBox="1"/>
          <p:nvPr/>
        </p:nvSpPr>
        <p:spPr>
          <a:xfrm>
            <a:off x="3588369" y="2147746"/>
            <a:ext cx="1113036" cy="74739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t">
            <a:spAutoFit/>
          </a:bodyPr>
          <a:lstStyle/>
          <a:p>
            <a:pPr algn="ctr"/>
            <a:r>
              <a:rPr sz="1000" b="0">
                <a:solidFill>
                  <a:srgbClr val="C64B47"/>
                </a:solidFill>
                <a:latin typeface="Roboto"/>
              </a:rPr>
              <a:t>Generates per-
feature and
aggregate dataset
drift scores.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71052AE-40E8-B0DE-C141-9DCED6167F28}"/>
              </a:ext>
            </a:extLst>
          </p:cNvPr>
          <p:cNvSpPr txBox="1"/>
          <p:nvPr/>
        </p:nvSpPr>
        <p:spPr>
          <a:xfrm>
            <a:off x="5269394" y="2281210"/>
            <a:ext cx="1167668" cy="56054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t">
            <a:spAutoFit/>
          </a:bodyPr>
          <a:lstStyle/>
          <a:p>
            <a:pPr algn="ctr"/>
            <a:r>
              <a:rPr sz="1000" b="0">
                <a:solidFill>
                  <a:srgbClr val="A455C9"/>
                </a:solidFill>
                <a:latin typeface="Roboto"/>
              </a:rPr>
              <a:t>Exports results in a
platform-agnostic
way.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04AE7D8-F644-8193-7126-91725DF8B1BC}"/>
              </a:ext>
            </a:extLst>
          </p:cNvPr>
          <p:cNvSpPr txBox="1"/>
          <p:nvPr/>
        </p:nvSpPr>
        <p:spPr>
          <a:xfrm>
            <a:off x="3680015" y="1831881"/>
            <a:ext cx="929799" cy="2615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t">
            <a:spAutoFit/>
          </a:bodyPr>
          <a:lstStyle/>
          <a:p>
            <a:pPr algn="ctr"/>
            <a:r>
              <a:rPr sz="1300" b="0">
                <a:solidFill>
                  <a:srgbClr val="E55753"/>
                </a:solidFill>
                <a:latin typeface="Roboto"/>
              </a:rPr>
              <a:t>Drift Score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6CC12C2-19A2-75D1-8DA0-AFE2D4D3C514}"/>
              </a:ext>
            </a:extLst>
          </p:cNvPr>
          <p:cNvSpPr txBox="1"/>
          <p:nvPr/>
        </p:nvSpPr>
        <p:spPr>
          <a:xfrm>
            <a:off x="1946049" y="1938652"/>
            <a:ext cx="981103" cy="2615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t">
            <a:spAutoFit/>
          </a:bodyPr>
          <a:lstStyle/>
          <a:p>
            <a:pPr algn="ctr"/>
            <a:r>
              <a:rPr sz="1300" b="0">
                <a:solidFill>
                  <a:srgbClr val="E0CB15"/>
                </a:solidFill>
                <a:latin typeface="Roboto"/>
              </a:rPr>
              <a:t>Drift Metric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A49A196-47CF-054E-C3E7-F766355E3E76}"/>
              </a:ext>
            </a:extLst>
          </p:cNvPr>
          <p:cNvSpPr txBox="1"/>
          <p:nvPr/>
        </p:nvSpPr>
        <p:spPr>
          <a:xfrm>
            <a:off x="2753774" y="4572343"/>
            <a:ext cx="1073967" cy="2615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t">
            <a:spAutoFit/>
          </a:bodyPr>
          <a:lstStyle/>
          <a:p>
            <a:pPr algn="ctr"/>
            <a:r>
              <a:rPr sz="1300" b="0">
                <a:solidFill>
                  <a:srgbClr val="DE8431"/>
                </a:solidFill>
                <a:latin typeface="Roboto"/>
              </a:rPr>
              <a:t>Data Format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C50AEB8-CCD2-30A9-8AE3-B27F9C29E013}"/>
              </a:ext>
            </a:extLst>
          </p:cNvPr>
          <p:cNvSpPr txBox="1"/>
          <p:nvPr/>
        </p:nvSpPr>
        <p:spPr>
          <a:xfrm>
            <a:off x="4465495" y="4572343"/>
            <a:ext cx="1067160" cy="2615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t">
            <a:spAutoFit/>
          </a:bodyPr>
          <a:lstStyle/>
          <a:p>
            <a:pPr algn="ctr"/>
            <a:r>
              <a:rPr sz="1300" b="0">
                <a:solidFill>
                  <a:srgbClr val="DE58A9"/>
                </a:solidFill>
                <a:latin typeface="Roboto"/>
              </a:rPr>
              <a:t>Configuratio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E5D60FC-E364-9D13-B888-76ADED84929C}"/>
              </a:ext>
            </a:extLst>
          </p:cNvPr>
          <p:cNvSpPr txBox="1"/>
          <p:nvPr/>
        </p:nvSpPr>
        <p:spPr>
          <a:xfrm>
            <a:off x="6309969" y="4572343"/>
            <a:ext cx="794947" cy="52317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t">
            <a:spAutoFit/>
          </a:bodyPr>
          <a:lstStyle/>
          <a:p>
            <a:pPr algn="ctr"/>
            <a:r>
              <a:rPr sz="1300" b="0">
                <a:solidFill>
                  <a:srgbClr val="4E88E7"/>
                </a:solidFill>
                <a:latin typeface="Roboto"/>
              </a:rPr>
              <a:t>Proactive
Detection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ED23F11-08F2-96F6-575D-B55BDC4128FA}"/>
              </a:ext>
            </a:extLst>
          </p:cNvPr>
          <p:cNvSpPr txBox="1"/>
          <p:nvPr/>
        </p:nvSpPr>
        <p:spPr>
          <a:xfrm>
            <a:off x="2732598" y="4914901"/>
            <a:ext cx="1116231" cy="56054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t">
            <a:spAutoFit/>
          </a:bodyPr>
          <a:lstStyle/>
          <a:p>
            <a:pPr algn="ctr"/>
            <a:r>
              <a:rPr sz="1000" b="0">
                <a:solidFill>
                  <a:srgbClr val="B27338"/>
                </a:solidFill>
                <a:latin typeface="Roboto"/>
              </a:rPr>
              <a:t>Supports multiple
data formats for
versatile ingestion.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7BF02BF-EE4E-1140-6A34-2CF6D058E39D}"/>
              </a:ext>
            </a:extLst>
          </p:cNvPr>
          <p:cNvSpPr txBox="1"/>
          <p:nvPr/>
        </p:nvSpPr>
        <p:spPr>
          <a:xfrm>
            <a:off x="4399297" y="4914901"/>
            <a:ext cx="1199512" cy="56054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t">
            <a:spAutoFit/>
          </a:bodyPr>
          <a:lstStyle/>
          <a:p>
            <a:pPr algn="ctr"/>
            <a:r>
              <a:rPr sz="1000" b="0">
                <a:solidFill>
                  <a:srgbClr val="C04B92"/>
                </a:solidFill>
                <a:latin typeface="Roboto"/>
              </a:rPr>
              <a:t>Configurable
statistical methods
and drift thresholds.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1471EDD-0B80-7956-01F1-AA20DD75F5C7}"/>
              </a:ext>
            </a:extLst>
          </p:cNvPr>
          <p:cNvSpPr txBox="1"/>
          <p:nvPr/>
        </p:nvSpPr>
        <p:spPr>
          <a:xfrm>
            <a:off x="5280694" y="1938652"/>
            <a:ext cx="1145148" cy="2615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t">
            <a:spAutoFit/>
          </a:bodyPr>
          <a:lstStyle/>
          <a:p>
            <a:pPr algn="ctr"/>
            <a:r>
              <a:rPr sz="1300" b="0">
                <a:solidFill>
                  <a:srgbClr val="BA5DE5"/>
                </a:solidFill>
                <a:latin typeface="Roboto"/>
              </a:rPr>
              <a:t>Export Results</a:t>
            </a:r>
          </a:p>
        </p:txBody>
      </p:sp>
      <p:sp>
        <p:nvSpPr>
          <p:cNvPr id="32" name="Rounded Rectangle 26">
            <a:extLst>
              <a:ext uri="{FF2B5EF4-FFF2-40B4-BE49-F238E27FC236}">
                <a16:creationId xmlns:a16="http://schemas.microsoft.com/office/drawing/2014/main" id="{B0BA9A47-D37F-401F-DD86-CFD4843FFCFE}"/>
              </a:ext>
            </a:extLst>
          </p:cNvPr>
          <p:cNvSpPr/>
          <p:nvPr/>
        </p:nvSpPr>
        <p:spPr>
          <a:xfrm>
            <a:off x="2186329" y="2898481"/>
            <a:ext cx="500334" cy="500490"/>
          </a:xfrm>
          <a:custGeom>
            <a:avLst/>
            <a:gdLst/>
            <a:ahLst/>
            <a:cxnLst/>
            <a:rect l="0" t="0" r="0" b="0"/>
            <a:pathLst>
              <a:path w="500334" h="500490">
                <a:moveTo>
                  <a:pt x="500334" y="500490"/>
                </a:moveTo>
                <a:lnTo>
                  <a:pt x="0" y="500490"/>
                </a:lnTo>
                <a:lnTo>
                  <a:pt x="0" y="0"/>
                </a:lnTo>
                <a:moveTo>
                  <a:pt x="331" y="140873"/>
                </a:moveTo>
                <a:cubicBezTo>
                  <a:pt x="2164" y="140118"/>
                  <a:pt x="4082" y="139499"/>
                  <a:pt x="6092" y="139024"/>
                </a:cubicBezTo>
                <a:cubicBezTo>
                  <a:pt x="76698" y="122341"/>
                  <a:pt x="119062" y="250245"/>
                  <a:pt x="175546" y="250245"/>
                </a:cubicBezTo>
                <a:cubicBezTo>
                  <a:pt x="232031" y="250245"/>
                  <a:pt x="302638" y="116780"/>
                  <a:pt x="359122" y="122341"/>
                </a:cubicBezTo>
                <a:cubicBezTo>
                  <a:pt x="415607" y="127902"/>
                  <a:pt x="435820" y="241859"/>
                  <a:pt x="500334" y="228001"/>
                </a:cubicBezTo>
                <a:moveTo>
                  <a:pt x="0" y="456002"/>
                </a:moveTo>
                <a:cubicBezTo>
                  <a:pt x="69512" y="442771"/>
                  <a:pt x="172391" y="328099"/>
                  <a:pt x="228001" y="345740"/>
                </a:cubicBezTo>
                <a:cubicBezTo>
                  <a:pt x="283611" y="363382"/>
                  <a:pt x="350343" y="451591"/>
                  <a:pt x="394831" y="442771"/>
                </a:cubicBezTo>
                <a:cubicBezTo>
                  <a:pt x="439319" y="433949"/>
                  <a:pt x="494929" y="328099"/>
                  <a:pt x="494929" y="328099"/>
                </a:cubicBezTo>
                <a:moveTo>
                  <a:pt x="346" y="282134"/>
                </a:moveTo>
                <a:cubicBezTo>
                  <a:pt x="131426" y="281306"/>
                  <a:pt x="73314" y="38927"/>
                  <a:pt x="175546" y="38927"/>
                </a:cubicBezTo>
                <a:cubicBezTo>
                  <a:pt x="246152" y="38927"/>
                  <a:pt x="260274" y="294733"/>
                  <a:pt x="345000" y="305855"/>
                </a:cubicBezTo>
                <a:cubicBezTo>
                  <a:pt x="429727" y="316977"/>
                  <a:pt x="486214" y="127903"/>
                  <a:pt x="500334" y="72293"/>
                </a:cubicBezTo>
              </a:path>
            </a:pathLst>
          </a:custGeom>
          <a:noFill/>
          <a:ln w="13346">
            <a:solidFill>
              <a:srgbClr val="E0CB15"/>
            </a:solidFill>
          </a:ln>
        </p:spPr>
        <p:txBody>
          <a:bodyPr rtlCol="0" anchor="ctr"/>
          <a:lstStyle/>
          <a:p>
            <a:pPr algn="ctr"/>
            <a:endParaRPr/>
          </a:p>
        </p:txBody>
      </p:sp>
      <p:sp>
        <p:nvSpPr>
          <p:cNvPr id="33" name="Rounded Rectangle 27">
            <a:extLst>
              <a:ext uri="{FF2B5EF4-FFF2-40B4-BE49-F238E27FC236}">
                <a16:creationId xmlns:a16="http://schemas.microsoft.com/office/drawing/2014/main" id="{4FA5FA57-E146-4614-B1E6-0CE27CD66DAD}"/>
              </a:ext>
            </a:extLst>
          </p:cNvPr>
          <p:cNvSpPr/>
          <p:nvPr/>
        </p:nvSpPr>
        <p:spPr>
          <a:xfrm>
            <a:off x="3887796" y="2981896"/>
            <a:ext cx="511612" cy="333660"/>
          </a:xfrm>
          <a:custGeom>
            <a:avLst/>
            <a:gdLst/>
            <a:ahLst/>
            <a:cxnLst/>
            <a:rect l="0" t="0" r="0" b="0"/>
            <a:pathLst>
              <a:path w="511612" h="333660">
                <a:moveTo>
                  <a:pt x="0" y="333660"/>
                </a:moveTo>
                <a:lnTo>
                  <a:pt x="511612" y="333660"/>
                </a:lnTo>
                <a:moveTo>
                  <a:pt x="88976" y="333660"/>
                </a:moveTo>
                <a:lnTo>
                  <a:pt x="88976" y="233562"/>
                </a:lnTo>
                <a:cubicBezTo>
                  <a:pt x="88976" y="227419"/>
                  <a:pt x="83996" y="222440"/>
                  <a:pt x="77854" y="222440"/>
                </a:cubicBezTo>
                <a:lnTo>
                  <a:pt x="33366" y="222440"/>
                </a:lnTo>
                <a:cubicBezTo>
                  <a:pt x="27223" y="222440"/>
                  <a:pt x="22244" y="227419"/>
                  <a:pt x="22244" y="233562"/>
                </a:cubicBezTo>
                <a:lnTo>
                  <a:pt x="22244" y="333660"/>
                </a:lnTo>
                <a:moveTo>
                  <a:pt x="222440" y="333660"/>
                </a:moveTo>
                <a:lnTo>
                  <a:pt x="222440" y="122342"/>
                </a:lnTo>
                <a:cubicBezTo>
                  <a:pt x="222440" y="116199"/>
                  <a:pt x="217460" y="111220"/>
                  <a:pt x="211318" y="111220"/>
                </a:cubicBezTo>
                <a:lnTo>
                  <a:pt x="166830" y="111220"/>
                </a:lnTo>
                <a:cubicBezTo>
                  <a:pt x="160687" y="111220"/>
                  <a:pt x="155708" y="116199"/>
                  <a:pt x="155708" y="122342"/>
                </a:cubicBezTo>
                <a:lnTo>
                  <a:pt x="155708" y="333660"/>
                </a:lnTo>
                <a:moveTo>
                  <a:pt x="355904" y="333660"/>
                </a:moveTo>
                <a:lnTo>
                  <a:pt x="355904" y="166830"/>
                </a:lnTo>
                <a:cubicBezTo>
                  <a:pt x="355904" y="160687"/>
                  <a:pt x="350924" y="155708"/>
                  <a:pt x="344782" y="155708"/>
                </a:cubicBezTo>
                <a:lnTo>
                  <a:pt x="300294" y="155708"/>
                </a:lnTo>
                <a:cubicBezTo>
                  <a:pt x="294151" y="155708"/>
                  <a:pt x="289172" y="160687"/>
                  <a:pt x="289172" y="166830"/>
                </a:cubicBezTo>
                <a:lnTo>
                  <a:pt x="289172" y="333660"/>
                </a:lnTo>
                <a:moveTo>
                  <a:pt x="489368" y="333660"/>
                </a:moveTo>
                <a:lnTo>
                  <a:pt x="489368" y="11122"/>
                </a:lnTo>
                <a:cubicBezTo>
                  <a:pt x="489368" y="4979"/>
                  <a:pt x="484388" y="0"/>
                  <a:pt x="478246" y="0"/>
                </a:cubicBezTo>
                <a:lnTo>
                  <a:pt x="433758" y="0"/>
                </a:lnTo>
                <a:cubicBezTo>
                  <a:pt x="427615" y="0"/>
                  <a:pt x="422636" y="4979"/>
                  <a:pt x="422636" y="11122"/>
                </a:cubicBezTo>
                <a:lnTo>
                  <a:pt x="422636" y="333660"/>
                </a:lnTo>
              </a:path>
            </a:pathLst>
          </a:custGeom>
          <a:noFill/>
          <a:ln w="13346">
            <a:solidFill>
              <a:srgbClr val="E55753"/>
            </a:solidFill>
          </a:ln>
        </p:spPr>
        <p:txBody>
          <a:bodyPr rtlCol="0" anchor="ctr"/>
          <a:lstStyle/>
          <a:p>
            <a:pPr algn="ctr"/>
            <a:endParaRPr/>
          </a:p>
        </p:txBody>
      </p:sp>
      <p:sp>
        <p:nvSpPr>
          <p:cNvPr id="34" name="Rounded Rectangle 28">
            <a:extLst>
              <a:ext uri="{FF2B5EF4-FFF2-40B4-BE49-F238E27FC236}">
                <a16:creationId xmlns:a16="http://schemas.microsoft.com/office/drawing/2014/main" id="{0CB1DDA8-62B6-B0D9-EC11-E9CABA1A175F}"/>
              </a:ext>
            </a:extLst>
          </p:cNvPr>
          <p:cNvSpPr/>
          <p:nvPr/>
        </p:nvSpPr>
        <p:spPr>
          <a:xfrm>
            <a:off x="5586326" y="2881798"/>
            <a:ext cx="522253" cy="517173"/>
          </a:xfrm>
          <a:custGeom>
            <a:avLst/>
            <a:gdLst/>
            <a:ahLst/>
            <a:cxnLst/>
            <a:rect l="0" t="0" r="0" b="0"/>
            <a:pathLst>
              <a:path w="522253" h="517173">
                <a:moveTo>
                  <a:pt x="16683" y="517173"/>
                </a:moveTo>
                <a:cubicBezTo>
                  <a:pt x="49901" y="517173"/>
                  <a:pt x="83119" y="517173"/>
                  <a:pt x="116338" y="483807"/>
                </a:cubicBezTo>
                <a:cubicBezTo>
                  <a:pt x="149556" y="517173"/>
                  <a:pt x="182774" y="517173"/>
                  <a:pt x="191633" y="517173"/>
                </a:cubicBezTo>
                <a:cubicBezTo>
                  <a:pt x="200491" y="517173"/>
                  <a:pt x="233708" y="517173"/>
                  <a:pt x="266928" y="483807"/>
                </a:cubicBezTo>
                <a:cubicBezTo>
                  <a:pt x="300147" y="517173"/>
                  <a:pt x="333364" y="517173"/>
                  <a:pt x="342224" y="517173"/>
                </a:cubicBezTo>
                <a:cubicBezTo>
                  <a:pt x="351081" y="517173"/>
                  <a:pt x="384298" y="517173"/>
                  <a:pt x="417517" y="483807"/>
                </a:cubicBezTo>
                <a:cubicBezTo>
                  <a:pt x="450737" y="517173"/>
                  <a:pt x="483954" y="517173"/>
                  <a:pt x="517173" y="517173"/>
                </a:cubicBezTo>
                <a:moveTo>
                  <a:pt x="448216" y="97886"/>
                </a:moveTo>
                <a:cubicBezTo>
                  <a:pt x="489105" y="97886"/>
                  <a:pt x="522253" y="79708"/>
                  <a:pt x="522253" y="57284"/>
                </a:cubicBezTo>
                <a:cubicBezTo>
                  <a:pt x="522253" y="34860"/>
                  <a:pt x="489105" y="16683"/>
                  <a:pt x="448216" y="16683"/>
                </a:cubicBezTo>
                <a:cubicBezTo>
                  <a:pt x="407325" y="16683"/>
                  <a:pt x="374177" y="34860"/>
                  <a:pt x="374177" y="57284"/>
                </a:cubicBezTo>
                <a:cubicBezTo>
                  <a:pt x="374177" y="79708"/>
                  <a:pt x="407325" y="97886"/>
                  <a:pt x="448216" y="97886"/>
                </a:cubicBezTo>
                <a:close/>
                <a:moveTo>
                  <a:pt x="374177" y="57283"/>
                </a:moveTo>
                <a:lnTo>
                  <a:pt x="374177" y="167146"/>
                </a:lnTo>
                <a:cubicBezTo>
                  <a:pt x="374177" y="188641"/>
                  <a:pt x="407614" y="207747"/>
                  <a:pt x="448216" y="207747"/>
                </a:cubicBezTo>
                <a:cubicBezTo>
                  <a:pt x="488816" y="207747"/>
                  <a:pt x="522253" y="188641"/>
                  <a:pt x="522253" y="167146"/>
                </a:cubicBezTo>
                <a:lnTo>
                  <a:pt x="522253" y="57283"/>
                </a:lnTo>
                <a:moveTo>
                  <a:pt x="50754" y="429985"/>
                </a:moveTo>
                <a:cubicBezTo>
                  <a:pt x="50754" y="422682"/>
                  <a:pt x="48321" y="415382"/>
                  <a:pt x="41019" y="408081"/>
                </a:cubicBezTo>
                <a:lnTo>
                  <a:pt x="26417" y="393478"/>
                </a:lnTo>
                <a:cubicBezTo>
                  <a:pt x="16683" y="386178"/>
                  <a:pt x="14249" y="371577"/>
                  <a:pt x="19116" y="361841"/>
                </a:cubicBezTo>
                <a:cubicBezTo>
                  <a:pt x="23983" y="349673"/>
                  <a:pt x="33719" y="344806"/>
                  <a:pt x="45887" y="344806"/>
                </a:cubicBezTo>
                <a:lnTo>
                  <a:pt x="65356" y="344806"/>
                </a:lnTo>
                <a:cubicBezTo>
                  <a:pt x="72658" y="344806"/>
                  <a:pt x="82392" y="342373"/>
                  <a:pt x="87259" y="337503"/>
                </a:cubicBezTo>
                <a:cubicBezTo>
                  <a:pt x="92127" y="332636"/>
                  <a:pt x="94561" y="325318"/>
                  <a:pt x="94561" y="315602"/>
                </a:cubicBezTo>
                <a:lnTo>
                  <a:pt x="94561" y="296132"/>
                </a:lnTo>
                <a:cubicBezTo>
                  <a:pt x="94561" y="283964"/>
                  <a:pt x="101862" y="271795"/>
                  <a:pt x="111596" y="269361"/>
                </a:cubicBezTo>
                <a:cubicBezTo>
                  <a:pt x="123765" y="264494"/>
                  <a:pt x="135933" y="266928"/>
                  <a:pt x="143234" y="276662"/>
                </a:cubicBezTo>
                <a:lnTo>
                  <a:pt x="157837" y="291265"/>
                </a:lnTo>
                <a:cubicBezTo>
                  <a:pt x="162704" y="296132"/>
                  <a:pt x="170005" y="300999"/>
                  <a:pt x="179740" y="300999"/>
                </a:cubicBezTo>
                <a:cubicBezTo>
                  <a:pt x="189474" y="300999"/>
                  <a:pt x="194342" y="298565"/>
                  <a:pt x="201643" y="291265"/>
                </a:cubicBezTo>
                <a:lnTo>
                  <a:pt x="216245" y="276662"/>
                </a:lnTo>
                <a:cubicBezTo>
                  <a:pt x="223545" y="266928"/>
                  <a:pt x="238148" y="264494"/>
                  <a:pt x="247882" y="269361"/>
                </a:cubicBezTo>
                <a:cubicBezTo>
                  <a:pt x="260052" y="274228"/>
                  <a:pt x="264919" y="283964"/>
                  <a:pt x="264919" y="296132"/>
                </a:cubicBezTo>
                <a:lnTo>
                  <a:pt x="264919" y="315602"/>
                </a:lnTo>
                <a:cubicBezTo>
                  <a:pt x="264919" y="322902"/>
                  <a:pt x="267353" y="332636"/>
                  <a:pt x="272219" y="337503"/>
                </a:cubicBezTo>
                <a:cubicBezTo>
                  <a:pt x="277086" y="342373"/>
                  <a:pt x="286823" y="347240"/>
                  <a:pt x="294123" y="344806"/>
                </a:cubicBezTo>
                <a:lnTo>
                  <a:pt x="313593" y="344806"/>
                </a:lnTo>
                <a:cubicBezTo>
                  <a:pt x="325761" y="344806"/>
                  <a:pt x="337928" y="352107"/>
                  <a:pt x="340364" y="361841"/>
                </a:cubicBezTo>
                <a:cubicBezTo>
                  <a:pt x="345231" y="374010"/>
                  <a:pt x="342798" y="386178"/>
                  <a:pt x="333061" y="393478"/>
                </a:cubicBezTo>
                <a:lnTo>
                  <a:pt x="318460" y="408081"/>
                </a:lnTo>
                <a:cubicBezTo>
                  <a:pt x="313591" y="412948"/>
                  <a:pt x="308724" y="420249"/>
                  <a:pt x="308724" y="429985"/>
                </a:cubicBezTo>
                <a:moveTo>
                  <a:pt x="235715" y="429983"/>
                </a:moveTo>
                <a:cubicBezTo>
                  <a:pt x="235715" y="398345"/>
                  <a:pt x="211378" y="374008"/>
                  <a:pt x="182174" y="374008"/>
                </a:cubicBezTo>
                <a:cubicBezTo>
                  <a:pt x="150536" y="374008"/>
                  <a:pt x="126199" y="400779"/>
                  <a:pt x="126199" y="429983"/>
                </a:cubicBezTo>
                <a:moveTo>
                  <a:pt x="448216" y="423192"/>
                </a:moveTo>
                <a:lnTo>
                  <a:pt x="448216" y="260811"/>
                </a:lnTo>
                <a:moveTo>
                  <a:pt x="0" y="0"/>
                </a:moveTo>
                <a:moveTo>
                  <a:pt x="403728" y="378704"/>
                </a:moveTo>
                <a:lnTo>
                  <a:pt x="448216" y="423192"/>
                </a:lnTo>
                <a:lnTo>
                  <a:pt x="492704" y="378704"/>
                </a:lnTo>
                <a:moveTo>
                  <a:pt x="522253" y="120347"/>
                </a:moveTo>
                <a:cubicBezTo>
                  <a:pt x="522253" y="137683"/>
                  <a:pt x="490237" y="151867"/>
                  <a:pt x="448214" y="151867"/>
                </a:cubicBezTo>
                <a:cubicBezTo>
                  <a:pt x="406193" y="151867"/>
                  <a:pt x="374177" y="137683"/>
                  <a:pt x="374177" y="120347"/>
                </a:cubicBezTo>
              </a:path>
            </a:pathLst>
          </a:custGeom>
          <a:noFill/>
          <a:ln w="13346">
            <a:solidFill>
              <a:srgbClr val="BA5DE5"/>
            </a:solidFill>
          </a:ln>
        </p:spPr>
        <p:txBody>
          <a:bodyPr rtlCol="0" anchor="ctr"/>
          <a:lstStyle/>
          <a:p>
            <a:pPr algn="ctr"/>
            <a:endParaRPr/>
          </a:p>
        </p:txBody>
      </p:sp>
      <p:sp>
        <p:nvSpPr>
          <p:cNvPr id="35" name="Rounded Rectangle 29">
            <a:extLst>
              <a:ext uri="{FF2B5EF4-FFF2-40B4-BE49-F238E27FC236}">
                <a16:creationId xmlns:a16="http://schemas.microsoft.com/office/drawing/2014/main" id="{BA8E0D63-27C6-1905-F87F-321C9F74930B}"/>
              </a:ext>
            </a:extLst>
          </p:cNvPr>
          <p:cNvSpPr/>
          <p:nvPr/>
        </p:nvSpPr>
        <p:spPr>
          <a:xfrm>
            <a:off x="3079426" y="3925042"/>
            <a:ext cx="422636" cy="511612"/>
          </a:xfrm>
          <a:custGeom>
            <a:avLst/>
            <a:gdLst/>
            <a:ahLst/>
            <a:cxnLst/>
            <a:rect l="0" t="0" r="0" b="0"/>
            <a:pathLst>
              <a:path w="422636" h="511612">
                <a:moveTo>
                  <a:pt x="416118" y="88976"/>
                </a:moveTo>
                <a:cubicBezTo>
                  <a:pt x="420290" y="93146"/>
                  <a:pt x="422634" y="98803"/>
                  <a:pt x="422636" y="104702"/>
                </a:cubicBezTo>
                <a:lnTo>
                  <a:pt x="422636" y="489368"/>
                </a:lnTo>
                <a:cubicBezTo>
                  <a:pt x="422636" y="501653"/>
                  <a:pt x="412677" y="511612"/>
                  <a:pt x="400392" y="511612"/>
                </a:cubicBezTo>
                <a:lnTo>
                  <a:pt x="22244" y="511612"/>
                </a:lnTo>
                <a:cubicBezTo>
                  <a:pt x="9958" y="511612"/>
                  <a:pt x="0" y="501653"/>
                  <a:pt x="0" y="489368"/>
                </a:cubicBezTo>
                <a:lnTo>
                  <a:pt x="0" y="22244"/>
                </a:lnTo>
                <a:cubicBezTo>
                  <a:pt x="0" y="9958"/>
                  <a:pt x="9958" y="0"/>
                  <a:pt x="22244" y="0"/>
                </a:cubicBezTo>
                <a:lnTo>
                  <a:pt x="317933" y="0"/>
                </a:lnTo>
                <a:cubicBezTo>
                  <a:pt x="323832" y="1"/>
                  <a:pt x="329489" y="2345"/>
                  <a:pt x="333660" y="6517"/>
                </a:cubicBezTo>
                <a:close/>
                <a:moveTo>
                  <a:pt x="111220" y="378148"/>
                </a:moveTo>
                <a:cubicBezTo>
                  <a:pt x="111220" y="402718"/>
                  <a:pt x="156035" y="422636"/>
                  <a:pt x="211318" y="422636"/>
                </a:cubicBezTo>
                <a:cubicBezTo>
                  <a:pt x="266600" y="422636"/>
                  <a:pt x="311416" y="402718"/>
                  <a:pt x="311416" y="378148"/>
                </a:cubicBezTo>
                <a:cubicBezTo>
                  <a:pt x="311416" y="353578"/>
                  <a:pt x="266600" y="333660"/>
                  <a:pt x="211318" y="333660"/>
                </a:cubicBezTo>
                <a:cubicBezTo>
                  <a:pt x="156035" y="333660"/>
                  <a:pt x="111220" y="353578"/>
                  <a:pt x="111220" y="378148"/>
                </a:cubicBezTo>
                <a:close/>
                <a:moveTo>
                  <a:pt x="118249" y="361732"/>
                </a:moveTo>
                <a:lnTo>
                  <a:pt x="201085" y="168431"/>
                </a:lnTo>
                <a:cubicBezTo>
                  <a:pt x="202833" y="164330"/>
                  <a:pt x="206860" y="161668"/>
                  <a:pt x="211318" y="161668"/>
                </a:cubicBezTo>
                <a:cubicBezTo>
                  <a:pt x="215776" y="161668"/>
                  <a:pt x="219803" y="164330"/>
                  <a:pt x="221550" y="168431"/>
                </a:cubicBezTo>
                <a:lnTo>
                  <a:pt x="304387" y="361732"/>
                </a:lnTo>
              </a:path>
            </a:pathLst>
          </a:custGeom>
          <a:noFill/>
          <a:ln w="13346">
            <a:solidFill>
              <a:srgbClr val="DE8431"/>
            </a:solidFill>
          </a:ln>
        </p:spPr>
        <p:txBody>
          <a:bodyPr rtlCol="0" anchor="ctr"/>
          <a:lstStyle/>
          <a:p>
            <a:pPr algn="ctr"/>
            <a:endParaRPr/>
          </a:p>
        </p:txBody>
      </p:sp>
      <p:sp>
        <p:nvSpPr>
          <p:cNvPr id="36" name="Rounded Rectangle 30">
            <a:extLst>
              <a:ext uri="{FF2B5EF4-FFF2-40B4-BE49-F238E27FC236}">
                <a16:creationId xmlns:a16="http://schemas.microsoft.com/office/drawing/2014/main" id="{1B1A0D6E-C83E-5376-96EC-7456532D6FF3}"/>
              </a:ext>
            </a:extLst>
          </p:cNvPr>
          <p:cNvSpPr/>
          <p:nvPr/>
        </p:nvSpPr>
        <p:spPr>
          <a:xfrm>
            <a:off x="4743278" y="3925065"/>
            <a:ext cx="511612" cy="511612"/>
          </a:xfrm>
          <a:custGeom>
            <a:avLst/>
            <a:gdLst/>
            <a:ahLst/>
            <a:cxnLst/>
            <a:rect l="0" t="0" r="0" b="0"/>
            <a:pathLst>
              <a:path w="511612" h="511612">
                <a:moveTo>
                  <a:pt x="200196" y="255806"/>
                </a:moveTo>
                <a:cubicBezTo>
                  <a:pt x="200196" y="225093"/>
                  <a:pt x="225093" y="200196"/>
                  <a:pt x="255806" y="200196"/>
                </a:cubicBezTo>
                <a:cubicBezTo>
                  <a:pt x="286518" y="200196"/>
                  <a:pt x="311416" y="225093"/>
                  <a:pt x="311416" y="255806"/>
                </a:cubicBezTo>
                <a:cubicBezTo>
                  <a:pt x="311416" y="286518"/>
                  <a:pt x="286518" y="311416"/>
                  <a:pt x="255806" y="311416"/>
                </a:cubicBezTo>
                <a:cubicBezTo>
                  <a:pt x="225093" y="311416"/>
                  <a:pt x="200196" y="286518"/>
                  <a:pt x="200196" y="255806"/>
                </a:cubicBezTo>
                <a:close/>
                <a:moveTo>
                  <a:pt x="77854" y="255806"/>
                </a:moveTo>
                <a:cubicBezTo>
                  <a:pt x="77854" y="354086"/>
                  <a:pt x="157525" y="433758"/>
                  <a:pt x="255806" y="433758"/>
                </a:cubicBezTo>
                <a:cubicBezTo>
                  <a:pt x="354086" y="433758"/>
                  <a:pt x="433758" y="354086"/>
                  <a:pt x="433758" y="255806"/>
                </a:cubicBezTo>
                <a:cubicBezTo>
                  <a:pt x="433758" y="157525"/>
                  <a:pt x="354086" y="77854"/>
                  <a:pt x="255806" y="77854"/>
                </a:cubicBezTo>
                <a:cubicBezTo>
                  <a:pt x="157525" y="77854"/>
                  <a:pt x="77854" y="157525"/>
                  <a:pt x="77854" y="255806"/>
                </a:cubicBezTo>
                <a:close/>
                <a:moveTo>
                  <a:pt x="255806" y="77854"/>
                </a:moveTo>
                <a:lnTo>
                  <a:pt x="255806" y="0"/>
                </a:lnTo>
                <a:moveTo>
                  <a:pt x="381640" y="129971"/>
                </a:moveTo>
                <a:lnTo>
                  <a:pt x="436694" y="74917"/>
                </a:lnTo>
                <a:moveTo>
                  <a:pt x="433758" y="255806"/>
                </a:moveTo>
                <a:lnTo>
                  <a:pt x="511612" y="255806"/>
                </a:lnTo>
                <a:moveTo>
                  <a:pt x="381640" y="381640"/>
                </a:moveTo>
                <a:lnTo>
                  <a:pt x="436694" y="436694"/>
                </a:lnTo>
                <a:moveTo>
                  <a:pt x="255806" y="433758"/>
                </a:moveTo>
                <a:lnTo>
                  <a:pt x="255806" y="511612"/>
                </a:lnTo>
                <a:moveTo>
                  <a:pt x="129971" y="381640"/>
                </a:moveTo>
                <a:lnTo>
                  <a:pt x="74917" y="436694"/>
                </a:lnTo>
                <a:moveTo>
                  <a:pt x="77854" y="255806"/>
                </a:moveTo>
                <a:lnTo>
                  <a:pt x="0" y="255806"/>
                </a:lnTo>
                <a:moveTo>
                  <a:pt x="129971" y="129971"/>
                </a:moveTo>
                <a:lnTo>
                  <a:pt x="74917" y="74917"/>
                </a:lnTo>
              </a:path>
            </a:pathLst>
          </a:custGeom>
          <a:noFill/>
          <a:ln w="13346">
            <a:solidFill>
              <a:srgbClr val="DE58A9"/>
            </a:solidFill>
          </a:ln>
        </p:spPr>
        <p:txBody>
          <a:bodyPr rtlCol="0" anchor="ctr"/>
          <a:lstStyle/>
          <a:p>
            <a:pPr algn="ctr"/>
            <a:endParaRPr/>
          </a:p>
        </p:txBody>
      </p:sp>
      <p:sp>
        <p:nvSpPr>
          <p:cNvPr id="37" name="Rounded Rectangle 31">
            <a:extLst>
              <a:ext uri="{FF2B5EF4-FFF2-40B4-BE49-F238E27FC236}">
                <a16:creationId xmlns:a16="http://schemas.microsoft.com/office/drawing/2014/main" id="{1F378D0D-0314-D3B7-F21D-9D2B76727F85}"/>
              </a:ext>
            </a:extLst>
          </p:cNvPr>
          <p:cNvSpPr/>
          <p:nvPr/>
        </p:nvSpPr>
        <p:spPr>
          <a:xfrm>
            <a:off x="6451618" y="3925042"/>
            <a:ext cx="511612" cy="511612"/>
          </a:xfrm>
          <a:custGeom>
            <a:avLst/>
            <a:gdLst/>
            <a:ahLst/>
            <a:cxnLst/>
            <a:rect l="0" t="0" r="0" b="0"/>
            <a:pathLst>
              <a:path w="511612" h="511612">
                <a:moveTo>
                  <a:pt x="111220" y="88976"/>
                </a:moveTo>
                <a:lnTo>
                  <a:pt x="400392" y="88976"/>
                </a:lnTo>
                <a:cubicBezTo>
                  <a:pt x="400392" y="88976"/>
                  <a:pt x="422636" y="88976"/>
                  <a:pt x="422636" y="111220"/>
                </a:cubicBezTo>
                <a:lnTo>
                  <a:pt x="422636" y="400392"/>
                </a:lnTo>
                <a:cubicBezTo>
                  <a:pt x="422636" y="400392"/>
                  <a:pt x="422636" y="422636"/>
                  <a:pt x="400392" y="422636"/>
                </a:cubicBezTo>
                <a:lnTo>
                  <a:pt x="111220" y="422636"/>
                </a:lnTo>
                <a:cubicBezTo>
                  <a:pt x="111220" y="422636"/>
                  <a:pt x="88976" y="422636"/>
                  <a:pt x="88976" y="400392"/>
                </a:cubicBezTo>
                <a:lnTo>
                  <a:pt x="88976" y="111220"/>
                </a:lnTo>
                <a:cubicBezTo>
                  <a:pt x="88976" y="111220"/>
                  <a:pt x="88976" y="88976"/>
                  <a:pt x="111220" y="88976"/>
                </a:cubicBezTo>
                <a:moveTo>
                  <a:pt x="255806" y="0"/>
                </a:moveTo>
                <a:lnTo>
                  <a:pt x="255806" y="88976"/>
                </a:lnTo>
                <a:moveTo>
                  <a:pt x="155708" y="0"/>
                </a:moveTo>
                <a:lnTo>
                  <a:pt x="155708" y="88976"/>
                </a:lnTo>
                <a:moveTo>
                  <a:pt x="355904" y="0"/>
                </a:moveTo>
                <a:lnTo>
                  <a:pt x="355904" y="88976"/>
                </a:lnTo>
                <a:moveTo>
                  <a:pt x="0" y="255806"/>
                </a:moveTo>
                <a:lnTo>
                  <a:pt x="88976" y="255806"/>
                </a:lnTo>
                <a:moveTo>
                  <a:pt x="0" y="355904"/>
                </a:moveTo>
                <a:lnTo>
                  <a:pt x="88976" y="355904"/>
                </a:lnTo>
                <a:moveTo>
                  <a:pt x="0" y="155708"/>
                </a:moveTo>
                <a:lnTo>
                  <a:pt x="88976" y="155708"/>
                </a:lnTo>
                <a:moveTo>
                  <a:pt x="255806" y="511612"/>
                </a:moveTo>
                <a:lnTo>
                  <a:pt x="255806" y="422636"/>
                </a:lnTo>
                <a:moveTo>
                  <a:pt x="355904" y="511612"/>
                </a:moveTo>
                <a:lnTo>
                  <a:pt x="355904" y="422636"/>
                </a:lnTo>
                <a:moveTo>
                  <a:pt x="155708" y="511612"/>
                </a:moveTo>
                <a:lnTo>
                  <a:pt x="155708" y="422636"/>
                </a:lnTo>
                <a:moveTo>
                  <a:pt x="511612" y="255806"/>
                </a:moveTo>
                <a:lnTo>
                  <a:pt x="422636" y="255806"/>
                </a:lnTo>
                <a:moveTo>
                  <a:pt x="511612" y="155708"/>
                </a:moveTo>
                <a:lnTo>
                  <a:pt x="422636" y="155708"/>
                </a:lnTo>
                <a:moveTo>
                  <a:pt x="511612" y="355904"/>
                </a:moveTo>
                <a:lnTo>
                  <a:pt x="422636" y="355904"/>
                </a:lnTo>
                <a:moveTo>
                  <a:pt x="177952" y="133464"/>
                </a:moveTo>
                <a:cubicBezTo>
                  <a:pt x="133464" y="133464"/>
                  <a:pt x="133464" y="177952"/>
                  <a:pt x="133464" y="177952"/>
                </a:cubicBezTo>
                <a:lnTo>
                  <a:pt x="133464" y="333660"/>
                </a:lnTo>
                <a:cubicBezTo>
                  <a:pt x="133464" y="378148"/>
                  <a:pt x="177952" y="378148"/>
                  <a:pt x="177952" y="378148"/>
                </a:cubicBezTo>
                <a:lnTo>
                  <a:pt x="333660" y="378148"/>
                </a:lnTo>
                <a:cubicBezTo>
                  <a:pt x="378148" y="378148"/>
                  <a:pt x="378148" y="333660"/>
                  <a:pt x="378148" y="333660"/>
                </a:cubicBezTo>
                <a:lnTo>
                  <a:pt x="378148" y="177952"/>
                </a:lnTo>
                <a:cubicBezTo>
                  <a:pt x="378148" y="133464"/>
                  <a:pt x="333660" y="133464"/>
                  <a:pt x="333660" y="133464"/>
                </a:cubicBezTo>
                <a:lnTo>
                  <a:pt x="177952" y="133464"/>
                </a:lnTo>
                <a:moveTo>
                  <a:pt x="189074" y="200196"/>
                </a:moveTo>
                <a:cubicBezTo>
                  <a:pt x="189074" y="250245"/>
                  <a:pt x="196080" y="311549"/>
                  <a:pt x="255806" y="333660"/>
                </a:cubicBezTo>
                <a:cubicBezTo>
                  <a:pt x="315531" y="311549"/>
                  <a:pt x="322538" y="250245"/>
                  <a:pt x="322538" y="200196"/>
                </a:cubicBezTo>
                <a:close/>
                <a:moveTo>
                  <a:pt x="322538" y="200196"/>
                </a:moveTo>
                <a:lnTo>
                  <a:pt x="207358" y="293020"/>
                </a:lnTo>
              </a:path>
            </a:pathLst>
          </a:custGeom>
          <a:noFill/>
          <a:ln w="13346">
            <a:solidFill>
              <a:srgbClr val="4E88E7"/>
            </a:solidFill>
          </a:ln>
        </p:spPr>
        <p:txBody>
          <a:bodyPr rtlCol="0" anchor="ctr"/>
          <a:lstStyle/>
          <a:p>
            <a:pPr algn="ctr"/>
            <a:endParaRPr/>
          </a:p>
        </p:txBody>
      </p:sp>
    </p:spTree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BB500AF-5D56-FD4C-4AB4-32B2B41C23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559" y="262922"/>
            <a:ext cx="7455190" cy="685801"/>
          </a:xfrm>
        </p:spPr>
        <p:txBody>
          <a:bodyPr/>
          <a:lstStyle/>
          <a:p>
            <a:r>
              <a:rPr lang="it-IT" sz="2000" dirty="0">
                <a:solidFill>
                  <a:schemeClr val="accent2"/>
                </a:solidFill>
              </a:rPr>
              <a:t>DataQualitySDK Delivers Comprehensive Data Profiling</a:t>
            </a:r>
            <a:endParaRPr lang="en-IN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6F44A5B-B2A6-93CF-9AFE-0773E64BFE4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IN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405FFED-1D9A-80D9-3BC9-222F57039FF1}"/>
              </a:ext>
            </a:extLst>
          </p:cNvPr>
          <p:cNvGrpSpPr/>
          <p:nvPr/>
        </p:nvGrpSpPr>
        <p:grpSpPr>
          <a:xfrm>
            <a:off x="1257377" y="1566148"/>
            <a:ext cx="7149506" cy="4106486"/>
            <a:chOff x="970097" y="1729221"/>
            <a:chExt cx="7149506" cy="4106486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251299AF-4FDC-4F39-57F3-019B1A876122}"/>
                </a:ext>
              </a:extLst>
            </p:cNvPr>
            <p:cNvGrpSpPr/>
            <p:nvPr/>
          </p:nvGrpSpPr>
          <p:grpSpPr>
            <a:xfrm>
              <a:off x="970097" y="1729221"/>
              <a:ext cx="5588289" cy="648392"/>
              <a:chOff x="432261" y="1188720"/>
              <a:chExt cx="5588289" cy="648392"/>
            </a:xfrm>
          </p:grpSpPr>
          <p:sp>
            <p:nvSpPr>
              <p:cNvPr id="51" name="Rounded Rectangle 1">
                <a:extLst>
                  <a:ext uri="{FF2B5EF4-FFF2-40B4-BE49-F238E27FC236}">
                    <a16:creationId xmlns:a16="http://schemas.microsoft.com/office/drawing/2014/main" id="{2A77E29D-E2D7-E8C6-8D10-1B444DD3453F}"/>
                  </a:ext>
                </a:extLst>
              </p:cNvPr>
              <p:cNvSpPr/>
              <p:nvPr/>
            </p:nvSpPr>
            <p:spPr>
              <a:xfrm>
                <a:off x="1237844" y="1188720"/>
                <a:ext cx="4782706" cy="648392"/>
              </a:xfrm>
              <a:custGeom>
                <a:avLst/>
                <a:gdLst/>
                <a:ahLst/>
                <a:cxnLst/>
                <a:rect l="0" t="0" r="0" b="0"/>
                <a:pathLst>
                  <a:path w="4782706" h="648392">
                    <a:moveTo>
                      <a:pt x="298737" y="648392"/>
                    </a:moveTo>
                    <a:cubicBezTo>
                      <a:pt x="269749" y="648392"/>
                      <a:pt x="243588" y="631021"/>
                      <a:pt x="232340" y="604302"/>
                    </a:cubicBezTo>
                    <a:lnTo>
                      <a:pt x="20001" y="99996"/>
                    </a:lnTo>
                    <a:cubicBezTo>
                      <a:pt x="0" y="52510"/>
                      <a:pt x="34869" y="0"/>
                      <a:pt x="86398" y="0"/>
                    </a:cubicBezTo>
                    <a:lnTo>
                      <a:pt x="4696308" y="0"/>
                    </a:lnTo>
                    <a:cubicBezTo>
                      <a:pt x="4747837" y="0"/>
                      <a:pt x="4782706" y="52510"/>
                      <a:pt x="4762705" y="99996"/>
                    </a:cubicBezTo>
                    <a:lnTo>
                      <a:pt x="4550366" y="604302"/>
                    </a:lnTo>
                    <a:cubicBezTo>
                      <a:pt x="4539118" y="631021"/>
                      <a:pt x="4512957" y="648392"/>
                      <a:pt x="4483968" y="648392"/>
                    </a:cubicBezTo>
                    <a:lnTo>
                      <a:pt x="298737" y="648392"/>
                    </a:lnTo>
                  </a:path>
                </a:pathLst>
              </a:custGeom>
              <a:gradFill rotWithShape="1">
                <a:gsLst>
                  <a:gs pos="0">
                    <a:srgbClr val="FFA6A3"/>
                  </a:gs>
                  <a:gs pos="100000">
                    <a:srgbClr val="FD6A65"/>
                  </a:gs>
                </a:gsLst>
                <a:lin ang="5400000" scaled="1"/>
              </a:gradFill>
              <a:ln>
                <a:noFill/>
              </a:ln>
            </p:spPr>
            <p:txBody>
              <a:bodyPr rtlCol="0" anchor="ctr"/>
              <a:lstStyle/>
              <a:p>
                <a:pPr algn="ctr"/>
                <a:endParaRPr/>
              </a:p>
            </p:txBody>
          </p:sp>
          <p:sp>
            <p:nvSpPr>
              <p:cNvPr id="52" name="Rounded Rectangle 2">
                <a:extLst>
                  <a:ext uri="{FF2B5EF4-FFF2-40B4-BE49-F238E27FC236}">
                    <a16:creationId xmlns:a16="http://schemas.microsoft.com/office/drawing/2014/main" id="{C0E088BE-FD08-D1D8-FDC6-C32AFFA577AE}"/>
                  </a:ext>
                </a:extLst>
              </p:cNvPr>
              <p:cNvSpPr/>
              <p:nvPr/>
            </p:nvSpPr>
            <p:spPr>
              <a:xfrm>
                <a:off x="432261" y="1188720"/>
                <a:ext cx="648392" cy="648392"/>
              </a:xfrm>
              <a:custGeom>
                <a:avLst/>
                <a:gdLst/>
                <a:ahLst/>
                <a:cxnLst/>
                <a:rect l="0" t="0" r="0" b="0"/>
                <a:pathLst>
                  <a:path w="648392" h="648392">
                    <a:moveTo>
                      <a:pt x="0" y="324196"/>
                    </a:moveTo>
                    <a:cubicBezTo>
                      <a:pt x="0" y="503242"/>
                      <a:pt x="145149" y="648392"/>
                      <a:pt x="324196" y="648392"/>
                    </a:cubicBezTo>
                    <a:cubicBezTo>
                      <a:pt x="503242" y="648392"/>
                      <a:pt x="648392" y="503242"/>
                      <a:pt x="648392" y="324196"/>
                    </a:cubicBezTo>
                    <a:cubicBezTo>
                      <a:pt x="648392" y="145149"/>
                      <a:pt x="503242" y="0"/>
                      <a:pt x="324196" y="0"/>
                    </a:cubicBezTo>
                    <a:cubicBezTo>
                      <a:pt x="145149" y="0"/>
                      <a:pt x="0" y="145149"/>
                      <a:pt x="0" y="324196"/>
                    </a:cubicBezTo>
                  </a:path>
                </a:pathLst>
              </a:custGeom>
              <a:gradFill rotWithShape="1">
                <a:gsLst>
                  <a:gs pos="0">
                    <a:srgbClr val="FFA6A3"/>
                  </a:gs>
                  <a:gs pos="100000">
                    <a:srgbClr val="FD6A65"/>
                  </a:gs>
                </a:gsLst>
                <a:lin ang="5400000" scaled="1"/>
              </a:gradFill>
              <a:ln>
                <a:noFill/>
              </a:ln>
            </p:spPr>
            <p:txBody>
              <a:bodyPr rtlCol="0"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1D0E3491-AE27-1509-5B60-26AA2F262D5E}"/>
                </a:ext>
              </a:extLst>
            </p:cNvPr>
            <p:cNvGrpSpPr/>
            <p:nvPr/>
          </p:nvGrpSpPr>
          <p:grpSpPr>
            <a:xfrm>
              <a:off x="970097" y="1729221"/>
              <a:ext cx="5588287" cy="648392"/>
              <a:chOff x="432261" y="1188720"/>
              <a:chExt cx="5588287" cy="648392"/>
            </a:xfrm>
          </p:grpSpPr>
          <p:sp>
            <p:nvSpPr>
              <p:cNvPr id="49" name="Rounded Rectangle 4">
                <a:extLst>
                  <a:ext uri="{FF2B5EF4-FFF2-40B4-BE49-F238E27FC236}">
                    <a16:creationId xmlns:a16="http://schemas.microsoft.com/office/drawing/2014/main" id="{E40ED95D-FD47-DE09-6A49-B2F34BCEF2E0}"/>
                  </a:ext>
                </a:extLst>
              </p:cNvPr>
              <p:cNvSpPr/>
              <p:nvPr/>
            </p:nvSpPr>
            <p:spPr>
              <a:xfrm>
                <a:off x="1237847" y="1188720"/>
                <a:ext cx="4782701" cy="648392"/>
              </a:xfrm>
              <a:custGeom>
                <a:avLst/>
                <a:gdLst/>
                <a:ahLst/>
                <a:cxnLst/>
                <a:rect l="0" t="0" r="0" b="0"/>
                <a:pathLst>
                  <a:path w="4782701" h="648392">
                    <a:moveTo>
                      <a:pt x="4480616" y="0"/>
                    </a:moveTo>
                    <a:lnTo>
                      <a:pt x="4696309" y="0"/>
                    </a:lnTo>
                    <a:cubicBezTo>
                      <a:pt x="4747833" y="0"/>
                      <a:pt x="4782701" y="52514"/>
                      <a:pt x="4762706" y="100000"/>
                    </a:cubicBezTo>
                    <a:lnTo>
                      <a:pt x="4550367" y="604305"/>
                    </a:lnTo>
                    <a:cubicBezTo>
                      <a:pt x="4539119" y="631021"/>
                      <a:pt x="4512956" y="648392"/>
                      <a:pt x="4483969" y="648392"/>
                    </a:cubicBezTo>
                    <a:lnTo>
                      <a:pt x="4480616" y="648392"/>
                    </a:lnTo>
                    <a:moveTo>
                      <a:pt x="302085" y="648392"/>
                    </a:moveTo>
                    <a:lnTo>
                      <a:pt x="4480616" y="648392"/>
                    </a:lnTo>
                    <a:moveTo>
                      <a:pt x="302085" y="0"/>
                    </a:moveTo>
                    <a:lnTo>
                      <a:pt x="4480616" y="0"/>
                    </a:lnTo>
                    <a:moveTo>
                      <a:pt x="302085" y="648392"/>
                    </a:moveTo>
                    <a:lnTo>
                      <a:pt x="298731" y="648392"/>
                    </a:lnTo>
                    <a:cubicBezTo>
                      <a:pt x="269744" y="648392"/>
                      <a:pt x="243582" y="631021"/>
                      <a:pt x="232333" y="604305"/>
                    </a:cubicBezTo>
                    <a:lnTo>
                      <a:pt x="19993" y="100001"/>
                    </a:lnTo>
                    <a:cubicBezTo>
                      <a:pt x="0" y="52514"/>
                      <a:pt x="34868" y="0"/>
                      <a:pt x="86392" y="0"/>
                    </a:cubicBezTo>
                    <a:lnTo>
                      <a:pt x="302085" y="0"/>
                    </a:lnTo>
                  </a:path>
                </a:pathLst>
              </a:custGeom>
              <a:noFill/>
              <a:ln w="13507">
                <a:solidFill>
                  <a:srgbClr val="FD6A65"/>
                </a:solidFill>
              </a:ln>
            </p:spPr>
            <p:txBody>
              <a:bodyPr rtlCol="0" anchor="ctr"/>
              <a:lstStyle/>
              <a:p>
                <a:pPr algn="ctr"/>
                <a:endParaRPr/>
              </a:p>
            </p:txBody>
          </p:sp>
          <p:sp>
            <p:nvSpPr>
              <p:cNvPr id="50" name="Rounded Rectangle 5">
                <a:extLst>
                  <a:ext uri="{FF2B5EF4-FFF2-40B4-BE49-F238E27FC236}">
                    <a16:creationId xmlns:a16="http://schemas.microsoft.com/office/drawing/2014/main" id="{6B6CD96B-ECEE-44C7-57AF-6E7AF713EDBB}"/>
                  </a:ext>
                </a:extLst>
              </p:cNvPr>
              <p:cNvSpPr/>
              <p:nvPr/>
            </p:nvSpPr>
            <p:spPr>
              <a:xfrm>
                <a:off x="432261" y="1188720"/>
                <a:ext cx="648392" cy="648392"/>
              </a:xfrm>
              <a:custGeom>
                <a:avLst/>
                <a:gdLst/>
                <a:ahLst/>
                <a:cxnLst/>
                <a:rect l="0" t="0" r="0" b="0"/>
                <a:pathLst>
                  <a:path w="648392" h="648392">
                    <a:moveTo>
                      <a:pt x="0" y="324196"/>
                    </a:moveTo>
                    <a:cubicBezTo>
                      <a:pt x="0" y="503245"/>
                      <a:pt x="145147" y="648392"/>
                      <a:pt x="324196" y="648392"/>
                    </a:cubicBezTo>
                    <a:cubicBezTo>
                      <a:pt x="503245" y="648392"/>
                      <a:pt x="648392" y="503245"/>
                      <a:pt x="648392" y="324196"/>
                    </a:cubicBezTo>
                    <a:cubicBezTo>
                      <a:pt x="648392" y="145147"/>
                      <a:pt x="503245" y="0"/>
                      <a:pt x="324196" y="0"/>
                    </a:cubicBezTo>
                    <a:cubicBezTo>
                      <a:pt x="145147" y="0"/>
                      <a:pt x="0" y="145147"/>
                      <a:pt x="0" y="324196"/>
                    </a:cubicBezTo>
                  </a:path>
                </a:pathLst>
              </a:custGeom>
              <a:noFill/>
              <a:ln w="13507">
                <a:solidFill>
                  <a:srgbClr val="FD6A65"/>
                </a:solidFill>
              </a:ln>
            </p:spPr>
            <p:txBody>
              <a:bodyPr rtlCol="0"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F318A933-83EA-9228-FFF7-2999194C1FFC}"/>
                </a:ext>
              </a:extLst>
            </p:cNvPr>
            <p:cNvGrpSpPr/>
            <p:nvPr/>
          </p:nvGrpSpPr>
          <p:grpSpPr>
            <a:xfrm>
              <a:off x="1330316" y="2593744"/>
              <a:ext cx="4867852" cy="648392"/>
              <a:chOff x="792480" y="2053243"/>
              <a:chExt cx="4867852" cy="648392"/>
            </a:xfrm>
          </p:grpSpPr>
          <p:sp>
            <p:nvSpPr>
              <p:cNvPr id="47" name="Rounded Rectangle 7">
                <a:extLst>
                  <a:ext uri="{FF2B5EF4-FFF2-40B4-BE49-F238E27FC236}">
                    <a16:creationId xmlns:a16="http://schemas.microsoft.com/office/drawing/2014/main" id="{6B53714F-44C5-BF1C-00F0-2EACE2745FE4}"/>
                  </a:ext>
                </a:extLst>
              </p:cNvPr>
              <p:cNvSpPr/>
              <p:nvPr/>
            </p:nvSpPr>
            <p:spPr>
              <a:xfrm>
                <a:off x="1598062" y="2053243"/>
                <a:ext cx="4062270" cy="648392"/>
              </a:xfrm>
              <a:custGeom>
                <a:avLst/>
                <a:gdLst/>
                <a:ahLst/>
                <a:cxnLst/>
                <a:rect l="0" t="0" r="0" b="0"/>
                <a:pathLst>
                  <a:path w="4062270" h="648392">
                    <a:moveTo>
                      <a:pt x="298737" y="648392"/>
                    </a:moveTo>
                    <a:cubicBezTo>
                      <a:pt x="269749" y="648392"/>
                      <a:pt x="243588" y="631021"/>
                      <a:pt x="232340" y="604302"/>
                    </a:cubicBezTo>
                    <a:lnTo>
                      <a:pt x="20001" y="99996"/>
                    </a:lnTo>
                    <a:cubicBezTo>
                      <a:pt x="0" y="52510"/>
                      <a:pt x="34869" y="0"/>
                      <a:pt x="86398" y="0"/>
                    </a:cubicBezTo>
                    <a:lnTo>
                      <a:pt x="3975872" y="0"/>
                    </a:lnTo>
                    <a:cubicBezTo>
                      <a:pt x="4027401" y="0"/>
                      <a:pt x="4062270" y="52510"/>
                      <a:pt x="4042269" y="99996"/>
                    </a:cubicBezTo>
                    <a:lnTo>
                      <a:pt x="3829929" y="604302"/>
                    </a:lnTo>
                    <a:cubicBezTo>
                      <a:pt x="3818681" y="631021"/>
                      <a:pt x="3792521" y="648392"/>
                      <a:pt x="3763532" y="648392"/>
                    </a:cubicBezTo>
                    <a:lnTo>
                      <a:pt x="298737" y="648392"/>
                    </a:lnTo>
                  </a:path>
                </a:pathLst>
              </a:custGeom>
              <a:gradFill rotWithShape="1">
                <a:gsLst>
                  <a:gs pos="0">
                    <a:srgbClr val="FFA6A3"/>
                  </a:gs>
                  <a:gs pos="100000">
                    <a:srgbClr val="FD6A65"/>
                  </a:gs>
                </a:gsLst>
                <a:lin ang="5400000" scaled="1"/>
              </a:gradFill>
              <a:ln>
                <a:noFill/>
              </a:ln>
            </p:spPr>
            <p:txBody>
              <a:bodyPr rtlCol="0" anchor="ctr"/>
              <a:lstStyle/>
              <a:p>
                <a:pPr algn="ctr"/>
                <a:endParaRPr/>
              </a:p>
            </p:txBody>
          </p:sp>
          <p:sp>
            <p:nvSpPr>
              <p:cNvPr id="48" name="Rounded Rectangle 8">
                <a:extLst>
                  <a:ext uri="{FF2B5EF4-FFF2-40B4-BE49-F238E27FC236}">
                    <a16:creationId xmlns:a16="http://schemas.microsoft.com/office/drawing/2014/main" id="{E524DD7A-2532-521F-E7D0-B5E872235CD5}"/>
                  </a:ext>
                </a:extLst>
              </p:cNvPr>
              <p:cNvSpPr/>
              <p:nvPr/>
            </p:nvSpPr>
            <p:spPr>
              <a:xfrm>
                <a:off x="792480" y="2053243"/>
                <a:ext cx="648392" cy="648392"/>
              </a:xfrm>
              <a:custGeom>
                <a:avLst/>
                <a:gdLst/>
                <a:ahLst/>
                <a:cxnLst/>
                <a:rect l="0" t="0" r="0" b="0"/>
                <a:pathLst>
                  <a:path w="648392" h="648392">
                    <a:moveTo>
                      <a:pt x="0" y="324196"/>
                    </a:moveTo>
                    <a:cubicBezTo>
                      <a:pt x="0" y="503242"/>
                      <a:pt x="145149" y="648392"/>
                      <a:pt x="324196" y="648392"/>
                    </a:cubicBezTo>
                    <a:cubicBezTo>
                      <a:pt x="503242" y="648392"/>
                      <a:pt x="648392" y="503242"/>
                      <a:pt x="648392" y="324196"/>
                    </a:cubicBezTo>
                    <a:cubicBezTo>
                      <a:pt x="648392" y="145149"/>
                      <a:pt x="503242" y="0"/>
                      <a:pt x="324196" y="0"/>
                    </a:cubicBezTo>
                    <a:cubicBezTo>
                      <a:pt x="145149" y="0"/>
                      <a:pt x="0" y="145149"/>
                      <a:pt x="0" y="324196"/>
                    </a:cubicBezTo>
                  </a:path>
                </a:pathLst>
              </a:custGeom>
              <a:gradFill rotWithShape="1">
                <a:gsLst>
                  <a:gs pos="0">
                    <a:srgbClr val="FFA6A3"/>
                  </a:gs>
                  <a:gs pos="100000">
                    <a:srgbClr val="FD6A65"/>
                  </a:gs>
                </a:gsLst>
                <a:lin ang="5400000" scaled="1"/>
              </a:gradFill>
              <a:ln>
                <a:noFill/>
              </a:ln>
            </p:spPr>
            <p:txBody>
              <a:bodyPr rtlCol="0"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CA59112C-2B12-44DF-F152-B8AB58398EBB}"/>
                </a:ext>
              </a:extLst>
            </p:cNvPr>
            <p:cNvGrpSpPr/>
            <p:nvPr/>
          </p:nvGrpSpPr>
          <p:grpSpPr>
            <a:xfrm>
              <a:off x="1330316" y="2593744"/>
              <a:ext cx="4867849" cy="648392"/>
              <a:chOff x="792480" y="2053243"/>
              <a:chExt cx="4867849" cy="648392"/>
            </a:xfrm>
          </p:grpSpPr>
          <p:sp>
            <p:nvSpPr>
              <p:cNvPr id="45" name="Rounded Rectangle 10">
                <a:extLst>
                  <a:ext uri="{FF2B5EF4-FFF2-40B4-BE49-F238E27FC236}">
                    <a16:creationId xmlns:a16="http://schemas.microsoft.com/office/drawing/2014/main" id="{469B29FA-B830-A8C6-3258-38C7824B86F8}"/>
                  </a:ext>
                </a:extLst>
              </p:cNvPr>
              <p:cNvSpPr/>
              <p:nvPr/>
            </p:nvSpPr>
            <p:spPr>
              <a:xfrm>
                <a:off x="1598065" y="2053243"/>
                <a:ext cx="4062264" cy="648392"/>
              </a:xfrm>
              <a:custGeom>
                <a:avLst/>
                <a:gdLst/>
                <a:ahLst/>
                <a:cxnLst/>
                <a:rect l="0" t="0" r="0" b="0"/>
                <a:pathLst>
                  <a:path w="4062264" h="648392">
                    <a:moveTo>
                      <a:pt x="3760179" y="0"/>
                    </a:moveTo>
                    <a:lnTo>
                      <a:pt x="3975872" y="0"/>
                    </a:lnTo>
                    <a:cubicBezTo>
                      <a:pt x="4027396" y="0"/>
                      <a:pt x="4062264" y="52514"/>
                      <a:pt x="4042270" y="100000"/>
                    </a:cubicBezTo>
                    <a:lnTo>
                      <a:pt x="3829931" y="604305"/>
                    </a:lnTo>
                    <a:cubicBezTo>
                      <a:pt x="3818682" y="631021"/>
                      <a:pt x="3792520" y="648392"/>
                      <a:pt x="3763533" y="648392"/>
                    </a:cubicBezTo>
                    <a:lnTo>
                      <a:pt x="3760179" y="648392"/>
                    </a:lnTo>
                    <a:moveTo>
                      <a:pt x="302085" y="648392"/>
                    </a:moveTo>
                    <a:lnTo>
                      <a:pt x="3760179" y="648392"/>
                    </a:lnTo>
                    <a:moveTo>
                      <a:pt x="302085" y="0"/>
                    </a:moveTo>
                    <a:lnTo>
                      <a:pt x="3760179" y="0"/>
                    </a:lnTo>
                    <a:moveTo>
                      <a:pt x="302085" y="648392"/>
                    </a:moveTo>
                    <a:lnTo>
                      <a:pt x="298731" y="648392"/>
                    </a:lnTo>
                    <a:cubicBezTo>
                      <a:pt x="269744" y="648392"/>
                      <a:pt x="243582" y="631021"/>
                      <a:pt x="232333" y="604305"/>
                    </a:cubicBezTo>
                    <a:lnTo>
                      <a:pt x="19993" y="100001"/>
                    </a:lnTo>
                    <a:cubicBezTo>
                      <a:pt x="0" y="52514"/>
                      <a:pt x="34868" y="0"/>
                      <a:pt x="86392" y="0"/>
                    </a:cubicBezTo>
                    <a:lnTo>
                      <a:pt x="302085" y="0"/>
                    </a:lnTo>
                  </a:path>
                </a:pathLst>
              </a:custGeom>
              <a:noFill/>
              <a:ln w="13507">
                <a:solidFill>
                  <a:srgbClr val="FD6A65"/>
                </a:solidFill>
              </a:ln>
            </p:spPr>
            <p:txBody>
              <a:bodyPr rtlCol="0" anchor="ctr"/>
              <a:lstStyle/>
              <a:p>
                <a:pPr algn="ctr"/>
                <a:endParaRPr/>
              </a:p>
            </p:txBody>
          </p:sp>
          <p:sp>
            <p:nvSpPr>
              <p:cNvPr id="46" name="Rounded Rectangle 11">
                <a:extLst>
                  <a:ext uri="{FF2B5EF4-FFF2-40B4-BE49-F238E27FC236}">
                    <a16:creationId xmlns:a16="http://schemas.microsoft.com/office/drawing/2014/main" id="{E1F6A8B3-D6A0-D585-FAB3-945435F5B15C}"/>
                  </a:ext>
                </a:extLst>
              </p:cNvPr>
              <p:cNvSpPr/>
              <p:nvPr/>
            </p:nvSpPr>
            <p:spPr>
              <a:xfrm>
                <a:off x="792480" y="2053243"/>
                <a:ext cx="648392" cy="648392"/>
              </a:xfrm>
              <a:custGeom>
                <a:avLst/>
                <a:gdLst/>
                <a:ahLst/>
                <a:cxnLst/>
                <a:rect l="0" t="0" r="0" b="0"/>
                <a:pathLst>
                  <a:path w="648392" h="648392">
                    <a:moveTo>
                      <a:pt x="0" y="324196"/>
                    </a:moveTo>
                    <a:cubicBezTo>
                      <a:pt x="0" y="503245"/>
                      <a:pt x="145147" y="648392"/>
                      <a:pt x="324196" y="648392"/>
                    </a:cubicBezTo>
                    <a:cubicBezTo>
                      <a:pt x="503245" y="648392"/>
                      <a:pt x="648392" y="503245"/>
                      <a:pt x="648392" y="324196"/>
                    </a:cubicBezTo>
                    <a:cubicBezTo>
                      <a:pt x="648392" y="145147"/>
                      <a:pt x="503245" y="0"/>
                      <a:pt x="324196" y="0"/>
                    </a:cubicBezTo>
                    <a:cubicBezTo>
                      <a:pt x="145147" y="0"/>
                      <a:pt x="0" y="145147"/>
                      <a:pt x="0" y="324196"/>
                    </a:cubicBezTo>
                  </a:path>
                </a:pathLst>
              </a:custGeom>
              <a:noFill/>
              <a:ln w="13507">
                <a:solidFill>
                  <a:srgbClr val="FD6A65"/>
                </a:solidFill>
              </a:ln>
            </p:spPr>
            <p:txBody>
              <a:bodyPr rtlCol="0"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7BD08E48-7DDD-4BEC-2FA5-CEC537D104BC}"/>
                </a:ext>
              </a:extLst>
            </p:cNvPr>
            <p:cNvGrpSpPr/>
            <p:nvPr/>
          </p:nvGrpSpPr>
          <p:grpSpPr>
            <a:xfrm>
              <a:off x="1690534" y="3458268"/>
              <a:ext cx="4139834" cy="648392"/>
              <a:chOff x="1152698" y="2917767"/>
              <a:chExt cx="4139834" cy="648392"/>
            </a:xfrm>
          </p:grpSpPr>
          <p:sp>
            <p:nvSpPr>
              <p:cNvPr id="43" name="Rounded Rectangle 13">
                <a:extLst>
                  <a:ext uri="{FF2B5EF4-FFF2-40B4-BE49-F238E27FC236}">
                    <a16:creationId xmlns:a16="http://schemas.microsoft.com/office/drawing/2014/main" id="{687B52F7-F069-9A5B-2880-95EAF8F5A624}"/>
                  </a:ext>
                </a:extLst>
              </p:cNvPr>
              <p:cNvSpPr/>
              <p:nvPr/>
            </p:nvSpPr>
            <p:spPr>
              <a:xfrm>
                <a:off x="1958272" y="2917767"/>
                <a:ext cx="3334260" cy="648392"/>
              </a:xfrm>
              <a:custGeom>
                <a:avLst/>
                <a:gdLst/>
                <a:ahLst/>
                <a:cxnLst/>
                <a:rect l="0" t="0" r="0" b="0"/>
                <a:pathLst>
                  <a:path w="3334260" h="648392">
                    <a:moveTo>
                      <a:pt x="298728" y="648392"/>
                    </a:moveTo>
                    <a:cubicBezTo>
                      <a:pt x="269749" y="648392"/>
                      <a:pt x="243579" y="631021"/>
                      <a:pt x="232331" y="604302"/>
                    </a:cubicBezTo>
                    <a:lnTo>
                      <a:pt x="19992" y="99996"/>
                    </a:lnTo>
                    <a:cubicBezTo>
                      <a:pt x="0" y="52510"/>
                      <a:pt x="34869" y="0"/>
                      <a:pt x="86389" y="0"/>
                    </a:cubicBezTo>
                    <a:lnTo>
                      <a:pt x="3247862" y="0"/>
                    </a:lnTo>
                    <a:cubicBezTo>
                      <a:pt x="3299391" y="0"/>
                      <a:pt x="3334260" y="52510"/>
                      <a:pt x="3314259" y="99996"/>
                    </a:cubicBezTo>
                    <a:lnTo>
                      <a:pt x="3100280" y="608201"/>
                    </a:lnTo>
                    <a:cubicBezTo>
                      <a:pt x="3090023" y="632561"/>
                      <a:pt x="3066177" y="648392"/>
                      <a:pt x="3039755" y="648392"/>
                    </a:cubicBezTo>
                    <a:lnTo>
                      <a:pt x="298728" y="648392"/>
                    </a:lnTo>
                  </a:path>
                </a:pathLst>
              </a:custGeom>
              <a:gradFill rotWithShape="1">
                <a:gsLst>
                  <a:gs pos="0">
                    <a:srgbClr val="FFA6A3"/>
                  </a:gs>
                  <a:gs pos="100000">
                    <a:srgbClr val="FD6A65"/>
                  </a:gs>
                </a:gsLst>
                <a:lin ang="5400000" scaled="1"/>
              </a:gradFill>
              <a:ln>
                <a:noFill/>
              </a:ln>
            </p:spPr>
            <p:txBody>
              <a:bodyPr rtlCol="0" anchor="ctr"/>
              <a:lstStyle/>
              <a:p>
                <a:pPr algn="ctr"/>
                <a:endParaRPr/>
              </a:p>
            </p:txBody>
          </p:sp>
          <p:sp>
            <p:nvSpPr>
              <p:cNvPr id="44" name="Rounded Rectangle 14">
                <a:extLst>
                  <a:ext uri="{FF2B5EF4-FFF2-40B4-BE49-F238E27FC236}">
                    <a16:creationId xmlns:a16="http://schemas.microsoft.com/office/drawing/2014/main" id="{E863C3CF-81CB-7877-8203-CDC77B5B1BEF}"/>
                  </a:ext>
                </a:extLst>
              </p:cNvPr>
              <p:cNvSpPr/>
              <p:nvPr/>
            </p:nvSpPr>
            <p:spPr>
              <a:xfrm>
                <a:off x="1152698" y="2917767"/>
                <a:ext cx="648392" cy="648392"/>
              </a:xfrm>
              <a:custGeom>
                <a:avLst/>
                <a:gdLst/>
                <a:ahLst/>
                <a:cxnLst/>
                <a:rect l="0" t="0" r="0" b="0"/>
                <a:pathLst>
                  <a:path w="648392" h="648392">
                    <a:moveTo>
                      <a:pt x="0" y="324196"/>
                    </a:moveTo>
                    <a:cubicBezTo>
                      <a:pt x="0" y="503242"/>
                      <a:pt x="145149" y="648392"/>
                      <a:pt x="324196" y="648392"/>
                    </a:cubicBezTo>
                    <a:cubicBezTo>
                      <a:pt x="503242" y="648392"/>
                      <a:pt x="648392" y="503242"/>
                      <a:pt x="648392" y="324196"/>
                    </a:cubicBezTo>
                    <a:cubicBezTo>
                      <a:pt x="648392" y="145149"/>
                      <a:pt x="503242" y="0"/>
                      <a:pt x="324196" y="0"/>
                    </a:cubicBezTo>
                    <a:cubicBezTo>
                      <a:pt x="145149" y="0"/>
                      <a:pt x="0" y="145149"/>
                      <a:pt x="0" y="324196"/>
                    </a:cubicBezTo>
                  </a:path>
                </a:pathLst>
              </a:custGeom>
              <a:gradFill rotWithShape="1">
                <a:gsLst>
                  <a:gs pos="0">
                    <a:srgbClr val="FFA6A3"/>
                  </a:gs>
                  <a:gs pos="100000">
                    <a:srgbClr val="FD6A65"/>
                  </a:gs>
                </a:gsLst>
                <a:lin ang="5400000" scaled="1"/>
              </a:gradFill>
              <a:ln>
                <a:noFill/>
              </a:ln>
            </p:spPr>
            <p:txBody>
              <a:bodyPr rtlCol="0"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65DDD327-7327-C68F-4689-0E5F62C449CB}"/>
                </a:ext>
              </a:extLst>
            </p:cNvPr>
            <p:cNvGrpSpPr/>
            <p:nvPr/>
          </p:nvGrpSpPr>
          <p:grpSpPr>
            <a:xfrm>
              <a:off x="1690534" y="3458268"/>
              <a:ext cx="4139830" cy="648392"/>
              <a:chOff x="1152698" y="2917767"/>
              <a:chExt cx="4139830" cy="648392"/>
            </a:xfrm>
          </p:grpSpPr>
          <p:sp>
            <p:nvSpPr>
              <p:cNvPr id="41" name="Rounded Rectangle 16">
                <a:extLst>
                  <a:ext uri="{FF2B5EF4-FFF2-40B4-BE49-F238E27FC236}">
                    <a16:creationId xmlns:a16="http://schemas.microsoft.com/office/drawing/2014/main" id="{C33F4567-E020-5899-14D4-895C2F8E9C4B}"/>
                  </a:ext>
                </a:extLst>
              </p:cNvPr>
              <p:cNvSpPr/>
              <p:nvPr/>
            </p:nvSpPr>
            <p:spPr>
              <a:xfrm>
                <a:off x="1958273" y="2917767"/>
                <a:ext cx="3334255" cy="648392"/>
              </a:xfrm>
              <a:custGeom>
                <a:avLst/>
                <a:gdLst/>
                <a:ahLst/>
                <a:cxnLst/>
                <a:rect l="0" t="0" r="0" b="0"/>
                <a:pathLst>
                  <a:path w="3334255" h="648392">
                    <a:moveTo>
                      <a:pt x="3039753" y="648392"/>
                    </a:moveTo>
                    <a:cubicBezTo>
                      <a:pt x="3066176" y="648392"/>
                      <a:pt x="3090026" y="632556"/>
                      <a:pt x="3100280" y="608204"/>
                    </a:cubicBezTo>
                    <a:lnTo>
                      <a:pt x="3314261" y="100001"/>
                    </a:lnTo>
                    <a:cubicBezTo>
                      <a:pt x="3334255" y="52514"/>
                      <a:pt x="3299387" y="0"/>
                      <a:pt x="3247863" y="0"/>
                    </a:cubicBezTo>
                    <a:lnTo>
                      <a:pt x="3039753" y="0"/>
                    </a:lnTo>
                    <a:moveTo>
                      <a:pt x="301862" y="0"/>
                    </a:moveTo>
                    <a:lnTo>
                      <a:pt x="3039765" y="0"/>
                    </a:lnTo>
                    <a:moveTo>
                      <a:pt x="3039765" y="648392"/>
                    </a:moveTo>
                    <a:lnTo>
                      <a:pt x="301862" y="648392"/>
                    </a:lnTo>
                    <a:lnTo>
                      <a:pt x="298753" y="648392"/>
                    </a:lnTo>
                    <a:moveTo>
                      <a:pt x="302085" y="648392"/>
                    </a:moveTo>
                    <a:lnTo>
                      <a:pt x="298731" y="648392"/>
                    </a:lnTo>
                    <a:cubicBezTo>
                      <a:pt x="269744" y="648392"/>
                      <a:pt x="243581" y="631021"/>
                      <a:pt x="232333" y="604306"/>
                    </a:cubicBezTo>
                    <a:lnTo>
                      <a:pt x="19993" y="100001"/>
                    </a:lnTo>
                    <a:cubicBezTo>
                      <a:pt x="0" y="52514"/>
                      <a:pt x="34868" y="0"/>
                      <a:pt x="86392" y="0"/>
                    </a:cubicBezTo>
                    <a:lnTo>
                      <a:pt x="302085" y="0"/>
                    </a:lnTo>
                  </a:path>
                </a:pathLst>
              </a:custGeom>
              <a:noFill/>
              <a:ln w="13507">
                <a:solidFill>
                  <a:srgbClr val="FD6A65"/>
                </a:solidFill>
              </a:ln>
            </p:spPr>
            <p:txBody>
              <a:bodyPr rtlCol="0" anchor="ctr"/>
              <a:lstStyle/>
              <a:p>
                <a:pPr algn="ctr"/>
                <a:endParaRPr/>
              </a:p>
            </p:txBody>
          </p:sp>
          <p:sp>
            <p:nvSpPr>
              <p:cNvPr id="42" name="Rounded Rectangle 17">
                <a:extLst>
                  <a:ext uri="{FF2B5EF4-FFF2-40B4-BE49-F238E27FC236}">
                    <a16:creationId xmlns:a16="http://schemas.microsoft.com/office/drawing/2014/main" id="{7F6DD474-EB6D-0166-339F-03B426D7CE8C}"/>
                  </a:ext>
                </a:extLst>
              </p:cNvPr>
              <p:cNvSpPr/>
              <p:nvPr/>
            </p:nvSpPr>
            <p:spPr>
              <a:xfrm>
                <a:off x="1152698" y="2917767"/>
                <a:ext cx="648392" cy="648392"/>
              </a:xfrm>
              <a:custGeom>
                <a:avLst/>
                <a:gdLst/>
                <a:ahLst/>
                <a:cxnLst/>
                <a:rect l="0" t="0" r="0" b="0"/>
                <a:pathLst>
                  <a:path w="648392" h="648392">
                    <a:moveTo>
                      <a:pt x="0" y="324196"/>
                    </a:moveTo>
                    <a:cubicBezTo>
                      <a:pt x="0" y="503245"/>
                      <a:pt x="145147" y="648392"/>
                      <a:pt x="324196" y="648392"/>
                    </a:cubicBezTo>
                    <a:cubicBezTo>
                      <a:pt x="503245" y="648392"/>
                      <a:pt x="648392" y="503245"/>
                      <a:pt x="648392" y="324196"/>
                    </a:cubicBezTo>
                    <a:cubicBezTo>
                      <a:pt x="648392" y="145147"/>
                      <a:pt x="503245" y="0"/>
                      <a:pt x="324196" y="0"/>
                    </a:cubicBezTo>
                    <a:cubicBezTo>
                      <a:pt x="145147" y="0"/>
                      <a:pt x="0" y="145147"/>
                      <a:pt x="0" y="324196"/>
                    </a:cubicBezTo>
                  </a:path>
                </a:pathLst>
              </a:custGeom>
              <a:noFill/>
              <a:ln w="13507">
                <a:solidFill>
                  <a:srgbClr val="FD6A65"/>
                </a:solidFill>
              </a:ln>
            </p:spPr>
            <p:txBody>
              <a:bodyPr rtlCol="0"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12AB76FE-EB54-4F38-2059-94C7D536ABA0}"/>
                </a:ext>
              </a:extLst>
            </p:cNvPr>
            <p:cNvGrpSpPr/>
            <p:nvPr/>
          </p:nvGrpSpPr>
          <p:grpSpPr>
            <a:xfrm>
              <a:off x="2059757" y="4322791"/>
              <a:ext cx="3411815" cy="648392"/>
              <a:chOff x="1521921" y="3782290"/>
              <a:chExt cx="3411815" cy="648392"/>
            </a:xfrm>
          </p:grpSpPr>
          <p:sp>
            <p:nvSpPr>
              <p:cNvPr id="39" name="Rounded Rectangle 19">
                <a:extLst>
                  <a:ext uri="{FF2B5EF4-FFF2-40B4-BE49-F238E27FC236}">
                    <a16:creationId xmlns:a16="http://schemas.microsoft.com/office/drawing/2014/main" id="{CD0AA8F0-1747-7293-9360-7D0D1E4D116C}"/>
                  </a:ext>
                </a:extLst>
              </p:cNvPr>
              <p:cNvSpPr/>
              <p:nvPr/>
            </p:nvSpPr>
            <p:spPr>
              <a:xfrm>
                <a:off x="2327495" y="3782290"/>
                <a:ext cx="2606241" cy="648392"/>
              </a:xfrm>
              <a:custGeom>
                <a:avLst/>
                <a:gdLst/>
                <a:ahLst/>
                <a:cxnLst/>
                <a:rect l="0" t="0" r="0" b="0"/>
                <a:pathLst>
                  <a:path w="2606241" h="648392">
                    <a:moveTo>
                      <a:pt x="2519852" y="0"/>
                    </a:moveTo>
                    <a:cubicBezTo>
                      <a:pt x="2571372" y="0"/>
                      <a:pt x="2606241" y="52510"/>
                      <a:pt x="2586249" y="99996"/>
                    </a:cubicBezTo>
                    <a:lnTo>
                      <a:pt x="2373909" y="604302"/>
                    </a:lnTo>
                    <a:cubicBezTo>
                      <a:pt x="2362662" y="631021"/>
                      <a:pt x="2339301" y="648392"/>
                      <a:pt x="2310313" y="648392"/>
                    </a:cubicBezTo>
                    <a:lnTo>
                      <a:pt x="293091" y="648392"/>
                    </a:lnTo>
                    <a:cubicBezTo>
                      <a:pt x="264084" y="648392"/>
                      <a:pt x="243579" y="631021"/>
                      <a:pt x="232331" y="604302"/>
                    </a:cubicBezTo>
                    <a:lnTo>
                      <a:pt x="19992" y="99996"/>
                    </a:lnTo>
                    <a:cubicBezTo>
                      <a:pt x="0" y="52510"/>
                      <a:pt x="34869" y="0"/>
                      <a:pt x="86389" y="0"/>
                    </a:cubicBezTo>
                    <a:lnTo>
                      <a:pt x="2519852" y="0"/>
                    </a:lnTo>
                  </a:path>
                </a:pathLst>
              </a:custGeom>
              <a:gradFill rotWithShape="1">
                <a:gsLst>
                  <a:gs pos="0">
                    <a:srgbClr val="FFA6A3"/>
                  </a:gs>
                  <a:gs pos="100000">
                    <a:srgbClr val="FD6A65"/>
                  </a:gs>
                </a:gsLst>
                <a:lin ang="5400000" scaled="1"/>
              </a:gradFill>
              <a:ln>
                <a:noFill/>
              </a:ln>
            </p:spPr>
            <p:txBody>
              <a:bodyPr rtlCol="0" anchor="ctr"/>
              <a:lstStyle/>
              <a:p>
                <a:pPr algn="ctr"/>
                <a:endParaRPr/>
              </a:p>
            </p:txBody>
          </p:sp>
          <p:sp>
            <p:nvSpPr>
              <p:cNvPr id="40" name="Rounded Rectangle 20">
                <a:extLst>
                  <a:ext uri="{FF2B5EF4-FFF2-40B4-BE49-F238E27FC236}">
                    <a16:creationId xmlns:a16="http://schemas.microsoft.com/office/drawing/2014/main" id="{8B494D01-BC17-EA66-0883-152EF5158E0A}"/>
                  </a:ext>
                </a:extLst>
              </p:cNvPr>
              <p:cNvSpPr/>
              <p:nvPr/>
            </p:nvSpPr>
            <p:spPr>
              <a:xfrm>
                <a:off x="1521921" y="3782290"/>
                <a:ext cx="648392" cy="648392"/>
              </a:xfrm>
              <a:custGeom>
                <a:avLst/>
                <a:gdLst/>
                <a:ahLst/>
                <a:cxnLst/>
                <a:rect l="0" t="0" r="0" b="0"/>
                <a:pathLst>
                  <a:path w="648392" h="648392">
                    <a:moveTo>
                      <a:pt x="0" y="324196"/>
                    </a:moveTo>
                    <a:cubicBezTo>
                      <a:pt x="0" y="503242"/>
                      <a:pt x="145149" y="648392"/>
                      <a:pt x="324196" y="648392"/>
                    </a:cubicBezTo>
                    <a:cubicBezTo>
                      <a:pt x="503242" y="648392"/>
                      <a:pt x="648392" y="503242"/>
                      <a:pt x="648392" y="324196"/>
                    </a:cubicBezTo>
                    <a:cubicBezTo>
                      <a:pt x="648392" y="145149"/>
                      <a:pt x="503242" y="0"/>
                      <a:pt x="324196" y="0"/>
                    </a:cubicBezTo>
                    <a:cubicBezTo>
                      <a:pt x="145149" y="0"/>
                      <a:pt x="0" y="145149"/>
                      <a:pt x="0" y="324196"/>
                    </a:cubicBezTo>
                  </a:path>
                </a:pathLst>
              </a:custGeom>
              <a:gradFill rotWithShape="1">
                <a:gsLst>
                  <a:gs pos="0">
                    <a:srgbClr val="FFA6A3"/>
                  </a:gs>
                  <a:gs pos="100000">
                    <a:srgbClr val="FD6A65"/>
                  </a:gs>
                </a:gsLst>
                <a:lin ang="5400000" scaled="1"/>
              </a:gradFill>
              <a:ln>
                <a:noFill/>
              </a:ln>
            </p:spPr>
            <p:txBody>
              <a:bodyPr rtlCol="0"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76BB8D46-C130-FD4E-0ABA-887C24374988}"/>
                </a:ext>
              </a:extLst>
            </p:cNvPr>
            <p:cNvGrpSpPr/>
            <p:nvPr/>
          </p:nvGrpSpPr>
          <p:grpSpPr>
            <a:xfrm>
              <a:off x="2059757" y="4322791"/>
              <a:ext cx="3411818" cy="648392"/>
              <a:chOff x="1521921" y="3782290"/>
              <a:chExt cx="3411818" cy="648392"/>
            </a:xfrm>
          </p:grpSpPr>
          <p:sp>
            <p:nvSpPr>
              <p:cNvPr id="37" name="Rounded Rectangle 22">
                <a:extLst>
                  <a:ext uri="{FF2B5EF4-FFF2-40B4-BE49-F238E27FC236}">
                    <a16:creationId xmlns:a16="http://schemas.microsoft.com/office/drawing/2014/main" id="{8E7F966A-A0B1-670D-CBF1-AE0C57FE4DBD}"/>
                  </a:ext>
                </a:extLst>
              </p:cNvPr>
              <p:cNvSpPr/>
              <p:nvPr/>
            </p:nvSpPr>
            <p:spPr>
              <a:xfrm>
                <a:off x="2327497" y="3782290"/>
                <a:ext cx="2606242" cy="648392"/>
              </a:xfrm>
              <a:custGeom>
                <a:avLst/>
                <a:gdLst/>
                <a:ahLst/>
                <a:cxnLst/>
                <a:rect l="0" t="0" r="0" b="0"/>
                <a:pathLst>
                  <a:path w="2606242" h="648392">
                    <a:moveTo>
                      <a:pt x="293072" y="648392"/>
                    </a:moveTo>
                    <a:cubicBezTo>
                      <a:pt x="264085" y="648392"/>
                      <a:pt x="243582" y="631021"/>
                      <a:pt x="232333" y="604306"/>
                    </a:cubicBezTo>
                    <a:lnTo>
                      <a:pt x="19993" y="100001"/>
                    </a:lnTo>
                    <a:cubicBezTo>
                      <a:pt x="0" y="52514"/>
                      <a:pt x="34868" y="0"/>
                      <a:pt x="86392" y="0"/>
                    </a:cubicBezTo>
                    <a:lnTo>
                      <a:pt x="293072" y="0"/>
                    </a:lnTo>
                    <a:moveTo>
                      <a:pt x="2310311" y="648392"/>
                    </a:moveTo>
                    <a:lnTo>
                      <a:pt x="293090" y="648392"/>
                    </a:lnTo>
                    <a:moveTo>
                      <a:pt x="2310311" y="0"/>
                    </a:moveTo>
                    <a:lnTo>
                      <a:pt x="293090" y="0"/>
                    </a:lnTo>
                    <a:moveTo>
                      <a:pt x="2310311" y="648392"/>
                    </a:moveTo>
                    <a:cubicBezTo>
                      <a:pt x="2339297" y="648392"/>
                      <a:pt x="2362660" y="631021"/>
                      <a:pt x="2373909" y="604306"/>
                    </a:cubicBezTo>
                    <a:lnTo>
                      <a:pt x="2586248" y="100001"/>
                    </a:lnTo>
                    <a:cubicBezTo>
                      <a:pt x="2606242" y="52514"/>
                      <a:pt x="2571374" y="0"/>
                      <a:pt x="2519849" y="0"/>
                    </a:cubicBezTo>
                    <a:lnTo>
                      <a:pt x="2310311" y="0"/>
                    </a:lnTo>
                  </a:path>
                </a:pathLst>
              </a:custGeom>
              <a:noFill/>
              <a:ln w="13507">
                <a:solidFill>
                  <a:srgbClr val="FD6A65"/>
                </a:solidFill>
              </a:ln>
            </p:spPr>
            <p:txBody>
              <a:bodyPr rtlCol="0" anchor="ctr"/>
              <a:lstStyle/>
              <a:p>
                <a:pPr algn="ctr"/>
                <a:endParaRPr/>
              </a:p>
            </p:txBody>
          </p:sp>
          <p:sp>
            <p:nvSpPr>
              <p:cNvPr id="38" name="Rounded Rectangle 23">
                <a:extLst>
                  <a:ext uri="{FF2B5EF4-FFF2-40B4-BE49-F238E27FC236}">
                    <a16:creationId xmlns:a16="http://schemas.microsoft.com/office/drawing/2014/main" id="{0639BA9D-1595-92A5-630B-361165A4D5FB}"/>
                  </a:ext>
                </a:extLst>
              </p:cNvPr>
              <p:cNvSpPr/>
              <p:nvPr/>
            </p:nvSpPr>
            <p:spPr>
              <a:xfrm>
                <a:off x="1521921" y="3782290"/>
                <a:ext cx="648392" cy="648392"/>
              </a:xfrm>
              <a:custGeom>
                <a:avLst/>
                <a:gdLst/>
                <a:ahLst/>
                <a:cxnLst/>
                <a:rect l="0" t="0" r="0" b="0"/>
                <a:pathLst>
                  <a:path w="648392" h="648392">
                    <a:moveTo>
                      <a:pt x="0" y="324196"/>
                    </a:moveTo>
                    <a:cubicBezTo>
                      <a:pt x="0" y="503245"/>
                      <a:pt x="145147" y="648392"/>
                      <a:pt x="324196" y="648392"/>
                    </a:cubicBezTo>
                    <a:cubicBezTo>
                      <a:pt x="503245" y="648392"/>
                      <a:pt x="648392" y="503245"/>
                      <a:pt x="648392" y="324196"/>
                    </a:cubicBezTo>
                    <a:cubicBezTo>
                      <a:pt x="648392" y="145147"/>
                      <a:pt x="503245" y="0"/>
                      <a:pt x="324196" y="0"/>
                    </a:cubicBezTo>
                    <a:cubicBezTo>
                      <a:pt x="145147" y="0"/>
                      <a:pt x="0" y="145147"/>
                      <a:pt x="0" y="324196"/>
                    </a:cubicBezTo>
                  </a:path>
                </a:pathLst>
              </a:custGeom>
              <a:noFill/>
              <a:ln w="13507">
                <a:solidFill>
                  <a:srgbClr val="FD6A65"/>
                </a:solidFill>
              </a:ln>
            </p:spPr>
            <p:txBody>
              <a:bodyPr rtlCol="0"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7A5E22B6-735F-55C8-EC80-481225AAFA97}"/>
                </a:ext>
              </a:extLst>
            </p:cNvPr>
            <p:cNvGrpSpPr/>
            <p:nvPr/>
          </p:nvGrpSpPr>
          <p:grpSpPr>
            <a:xfrm>
              <a:off x="2419976" y="5187315"/>
              <a:ext cx="2683786" cy="648392"/>
              <a:chOff x="1882140" y="4646814"/>
              <a:chExt cx="2683786" cy="648392"/>
            </a:xfrm>
          </p:grpSpPr>
          <p:sp>
            <p:nvSpPr>
              <p:cNvPr id="35" name="Rounded Rectangle 25">
                <a:extLst>
                  <a:ext uri="{FF2B5EF4-FFF2-40B4-BE49-F238E27FC236}">
                    <a16:creationId xmlns:a16="http://schemas.microsoft.com/office/drawing/2014/main" id="{31FAC276-7B21-E7D5-0DAC-EB2D7D345C71}"/>
                  </a:ext>
                </a:extLst>
              </p:cNvPr>
              <p:cNvSpPr/>
              <p:nvPr/>
            </p:nvSpPr>
            <p:spPr>
              <a:xfrm>
                <a:off x="2687713" y="4646814"/>
                <a:ext cx="1878213" cy="648392"/>
              </a:xfrm>
              <a:custGeom>
                <a:avLst/>
                <a:gdLst/>
                <a:ahLst/>
                <a:cxnLst/>
                <a:rect l="0" t="0" r="0" b="0"/>
                <a:pathLst>
                  <a:path w="1878213" h="648392">
                    <a:moveTo>
                      <a:pt x="293082" y="648392"/>
                    </a:moveTo>
                    <a:cubicBezTo>
                      <a:pt x="267516" y="648392"/>
                      <a:pt x="244444" y="633074"/>
                      <a:pt x="234529" y="609516"/>
                    </a:cubicBezTo>
                    <a:lnTo>
                      <a:pt x="19992" y="99996"/>
                    </a:lnTo>
                    <a:cubicBezTo>
                      <a:pt x="0" y="52510"/>
                      <a:pt x="34869" y="0"/>
                      <a:pt x="86389" y="0"/>
                    </a:cubicBezTo>
                    <a:lnTo>
                      <a:pt x="1791824" y="0"/>
                    </a:lnTo>
                    <a:cubicBezTo>
                      <a:pt x="1843353" y="0"/>
                      <a:pt x="1878213" y="52510"/>
                      <a:pt x="1858221" y="99996"/>
                    </a:cubicBezTo>
                    <a:lnTo>
                      <a:pt x="1641847" y="613883"/>
                    </a:lnTo>
                    <a:cubicBezTo>
                      <a:pt x="1633049" y="634794"/>
                      <a:pt x="1612570" y="648392"/>
                      <a:pt x="1589876" y="648392"/>
                    </a:cubicBezTo>
                    <a:lnTo>
                      <a:pt x="293091" y="648392"/>
                    </a:lnTo>
                  </a:path>
                </a:pathLst>
              </a:custGeom>
              <a:gradFill rotWithShape="1">
                <a:gsLst>
                  <a:gs pos="0">
                    <a:srgbClr val="FFA6A3"/>
                  </a:gs>
                  <a:gs pos="100000">
                    <a:srgbClr val="FD6A65"/>
                  </a:gs>
                </a:gsLst>
                <a:lin ang="5400000" scaled="1"/>
              </a:gradFill>
              <a:ln>
                <a:noFill/>
              </a:ln>
            </p:spPr>
            <p:txBody>
              <a:bodyPr rtlCol="0" anchor="ctr"/>
              <a:lstStyle/>
              <a:p>
                <a:pPr algn="ctr"/>
                <a:endParaRPr/>
              </a:p>
            </p:txBody>
          </p:sp>
          <p:sp>
            <p:nvSpPr>
              <p:cNvPr id="36" name="Rounded Rectangle 26">
                <a:extLst>
                  <a:ext uri="{FF2B5EF4-FFF2-40B4-BE49-F238E27FC236}">
                    <a16:creationId xmlns:a16="http://schemas.microsoft.com/office/drawing/2014/main" id="{6835800B-93DD-8792-44A8-8D9869CD4C8A}"/>
                  </a:ext>
                </a:extLst>
              </p:cNvPr>
              <p:cNvSpPr/>
              <p:nvPr/>
            </p:nvSpPr>
            <p:spPr>
              <a:xfrm>
                <a:off x="1882140" y="4646814"/>
                <a:ext cx="648392" cy="648392"/>
              </a:xfrm>
              <a:custGeom>
                <a:avLst/>
                <a:gdLst/>
                <a:ahLst/>
                <a:cxnLst/>
                <a:rect l="0" t="0" r="0" b="0"/>
                <a:pathLst>
                  <a:path w="648392" h="648392">
                    <a:moveTo>
                      <a:pt x="0" y="324196"/>
                    </a:moveTo>
                    <a:cubicBezTo>
                      <a:pt x="0" y="503242"/>
                      <a:pt x="145149" y="648392"/>
                      <a:pt x="324196" y="648392"/>
                    </a:cubicBezTo>
                    <a:cubicBezTo>
                      <a:pt x="503242" y="648392"/>
                      <a:pt x="648392" y="503242"/>
                      <a:pt x="648392" y="324196"/>
                    </a:cubicBezTo>
                    <a:cubicBezTo>
                      <a:pt x="648392" y="145149"/>
                      <a:pt x="503242" y="0"/>
                      <a:pt x="324196" y="0"/>
                    </a:cubicBezTo>
                    <a:cubicBezTo>
                      <a:pt x="145149" y="0"/>
                      <a:pt x="0" y="145149"/>
                      <a:pt x="0" y="324196"/>
                    </a:cubicBezTo>
                  </a:path>
                </a:pathLst>
              </a:custGeom>
              <a:gradFill rotWithShape="1">
                <a:gsLst>
                  <a:gs pos="0">
                    <a:srgbClr val="FFA6A3"/>
                  </a:gs>
                  <a:gs pos="100000">
                    <a:srgbClr val="FD6A65"/>
                  </a:gs>
                </a:gsLst>
                <a:lin ang="5400000" scaled="1"/>
              </a:gradFill>
              <a:ln>
                <a:noFill/>
              </a:ln>
            </p:spPr>
            <p:txBody>
              <a:bodyPr rtlCol="0"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863A156D-513E-EEED-8E95-4FF0C940A02C}"/>
                </a:ext>
              </a:extLst>
            </p:cNvPr>
            <p:cNvGrpSpPr/>
            <p:nvPr/>
          </p:nvGrpSpPr>
          <p:grpSpPr>
            <a:xfrm>
              <a:off x="2419976" y="5187315"/>
              <a:ext cx="2683790" cy="648392"/>
              <a:chOff x="1882140" y="4646814"/>
              <a:chExt cx="2683790" cy="648392"/>
            </a:xfrm>
          </p:grpSpPr>
          <p:sp>
            <p:nvSpPr>
              <p:cNvPr id="33" name="Rounded Rectangle 28">
                <a:extLst>
                  <a:ext uri="{FF2B5EF4-FFF2-40B4-BE49-F238E27FC236}">
                    <a16:creationId xmlns:a16="http://schemas.microsoft.com/office/drawing/2014/main" id="{AA1D0206-A7FA-E61D-1AFB-18A54420842F}"/>
                  </a:ext>
                </a:extLst>
              </p:cNvPr>
              <p:cNvSpPr/>
              <p:nvPr/>
            </p:nvSpPr>
            <p:spPr>
              <a:xfrm>
                <a:off x="2687715" y="4646814"/>
                <a:ext cx="1878215" cy="648392"/>
              </a:xfrm>
              <a:custGeom>
                <a:avLst/>
                <a:gdLst/>
                <a:ahLst/>
                <a:cxnLst/>
                <a:rect l="0" t="0" r="0" b="0"/>
                <a:pathLst>
                  <a:path w="1878215" h="648392">
                    <a:moveTo>
                      <a:pt x="1589875" y="648392"/>
                    </a:moveTo>
                    <a:cubicBezTo>
                      <a:pt x="1612564" y="648392"/>
                      <a:pt x="1633044" y="634794"/>
                      <a:pt x="1641849" y="613882"/>
                    </a:cubicBezTo>
                    <a:lnTo>
                      <a:pt x="1858220" y="100000"/>
                    </a:lnTo>
                    <a:cubicBezTo>
                      <a:pt x="1878215" y="52514"/>
                      <a:pt x="1843347" y="0"/>
                      <a:pt x="1791822" y="0"/>
                    </a:cubicBezTo>
                    <a:lnTo>
                      <a:pt x="1589875" y="0"/>
                    </a:lnTo>
                    <a:moveTo>
                      <a:pt x="1589875" y="648392"/>
                    </a:moveTo>
                    <a:lnTo>
                      <a:pt x="293090" y="648392"/>
                    </a:lnTo>
                    <a:moveTo>
                      <a:pt x="1589875" y="0"/>
                    </a:moveTo>
                    <a:lnTo>
                      <a:pt x="293090" y="0"/>
                    </a:lnTo>
                    <a:moveTo>
                      <a:pt x="293079" y="648392"/>
                    </a:moveTo>
                    <a:cubicBezTo>
                      <a:pt x="267517" y="648392"/>
                      <a:pt x="244445" y="633073"/>
                      <a:pt x="234526" y="609515"/>
                    </a:cubicBezTo>
                    <a:lnTo>
                      <a:pt x="19993" y="100001"/>
                    </a:lnTo>
                    <a:cubicBezTo>
                      <a:pt x="0" y="52514"/>
                      <a:pt x="34868" y="0"/>
                      <a:pt x="86392" y="0"/>
                    </a:cubicBezTo>
                    <a:lnTo>
                      <a:pt x="293079" y="0"/>
                    </a:lnTo>
                  </a:path>
                </a:pathLst>
              </a:custGeom>
              <a:noFill/>
              <a:ln w="13507">
                <a:solidFill>
                  <a:srgbClr val="FD6A65"/>
                </a:solidFill>
              </a:ln>
            </p:spPr>
            <p:txBody>
              <a:bodyPr rtlCol="0" anchor="ctr"/>
              <a:lstStyle/>
              <a:p>
                <a:pPr algn="ctr"/>
                <a:endParaRPr/>
              </a:p>
            </p:txBody>
          </p:sp>
          <p:sp>
            <p:nvSpPr>
              <p:cNvPr id="34" name="Rounded Rectangle 29">
                <a:extLst>
                  <a:ext uri="{FF2B5EF4-FFF2-40B4-BE49-F238E27FC236}">
                    <a16:creationId xmlns:a16="http://schemas.microsoft.com/office/drawing/2014/main" id="{C7B0178D-246E-83E5-1672-B3DCD3E0BCD1}"/>
                  </a:ext>
                </a:extLst>
              </p:cNvPr>
              <p:cNvSpPr/>
              <p:nvPr/>
            </p:nvSpPr>
            <p:spPr>
              <a:xfrm>
                <a:off x="1882140" y="4646814"/>
                <a:ext cx="648392" cy="648392"/>
              </a:xfrm>
              <a:custGeom>
                <a:avLst/>
                <a:gdLst/>
                <a:ahLst/>
                <a:cxnLst/>
                <a:rect l="0" t="0" r="0" b="0"/>
                <a:pathLst>
                  <a:path w="648392" h="648392">
                    <a:moveTo>
                      <a:pt x="0" y="324196"/>
                    </a:moveTo>
                    <a:cubicBezTo>
                      <a:pt x="0" y="503245"/>
                      <a:pt x="145147" y="648392"/>
                      <a:pt x="324196" y="648392"/>
                    </a:cubicBezTo>
                    <a:cubicBezTo>
                      <a:pt x="503245" y="648392"/>
                      <a:pt x="648392" y="503245"/>
                      <a:pt x="648392" y="324196"/>
                    </a:cubicBezTo>
                    <a:cubicBezTo>
                      <a:pt x="648392" y="145147"/>
                      <a:pt x="503245" y="0"/>
                      <a:pt x="324196" y="0"/>
                    </a:cubicBezTo>
                    <a:cubicBezTo>
                      <a:pt x="145147" y="0"/>
                      <a:pt x="0" y="145147"/>
                      <a:pt x="0" y="324196"/>
                    </a:cubicBezTo>
                  </a:path>
                </a:pathLst>
              </a:custGeom>
              <a:noFill/>
              <a:ln w="13507">
                <a:solidFill>
                  <a:srgbClr val="FD6A65"/>
                </a:solidFill>
              </a:ln>
            </p:spPr>
            <p:txBody>
              <a:bodyPr rtlCol="0" anchor="ctr"/>
              <a:lstStyle/>
              <a:p>
                <a:pPr algn="ctr"/>
                <a:endParaRPr/>
              </a:p>
            </p:txBody>
          </p:sp>
        </p:grp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0594A98-DCD3-249B-B605-010E69659005}"/>
                </a:ext>
              </a:extLst>
            </p:cNvPr>
            <p:cNvSpPr txBox="1"/>
            <p:nvPr/>
          </p:nvSpPr>
          <p:spPr>
            <a:xfrm>
              <a:off x="3509807" y="1963362"/>
              <a:ext cx="1314462" cy="200055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anchor="t">
              <a:spAutoFit/>
            </a:bodyPr>
            <a:lstStyle/>
            <a:p>
              <a:pPr algn="ctr"/>
              <a:r>
                <a:rPr sz="1300" b="1">
                  <a:solidFill>
                    <a:srgbClr val="484848"/>
                  </a:solidFill>
                  <a:latin typeface="Roboto"/>
                </a:rPr>
                <a:t>Calculate Metrics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5155C59A-D779-6906-8005-23D3B30174BC}"/>
                </a:ext>
              </a:extLst>
            </p:cNvPr>
            <p:cNvSpPr txBox="1"/>
            <p:nvPr/>
          </p:nvSpPr>
          <p:spPr>
            <a:xfrm>
              <a:off x="6769875" y="1796761"/>
              <a:ext cx="1349728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anchor="t">
              <a:spAutoFit/>
            </a:bodyPr>
            <a:lstStyle/>
            <a:p>
              <a:pPr algn="ctr"/>
              <a:r>
                <a:rPr sz="1000" b="0" dirty="0">
                  <a:solidFill>
                    <a:srgbClr val="484848"/>
                  </a:solidFill>
                  <a:latin typeface="Roboto"/>
                </a:rPr>
                <a:t>Compute essential data
metrics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0F52BA07-F77C-53D7-77A5-FEDBD0EF24CB}"/>
                </a:ext>
              </a:extLst>
            </p:cNvPr>
            <p:cNvSpPr txBox="1"/>
            <p:nvPr/>
          </p:nvSpPr>
          <p:spPr>
            <a:xfrm>
              <a:off x="3327821" y="2827886"/>
              <a:ext cx="1678344" cy="200055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anchor="t">
              <a:spAutoFit/>
            </a:bodyPr>
            <a:lstStyle/>
            <a:p>
              <a:pPr algn="ctr"/>
              <a:r>
                <a:rPr sz="1300" b="1">
                  <a:solidFill>
                    <a:srgbClr val="484848"/>
                  </a:solidFill>
                  <a:latin typeface="Roboto"/>
                </a:rPr>
                <a:t>Identify Feature Types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C0AF6D03-A223-A6B1-089A-FA19193DC891}"/>
                </a:ext>
              </a:extLst>
            </p:cNvPr>
            <p:cNvSpPr txBox="1"/>
            <p:nvPr/>
          </p:nvSpPr>
          <p:spPr>
            <a:xfrm>
              <a:off x="6407461" y="2661285"/>
              <a:ext cx="1227900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anchor="t">
              <a:spAutoFit/>
            </a:bodyPr>
            <a:lstStyle/>
            <a:p>
              <a:pPr algn="ctr"/>
              <a:r>
                <a:rPr sz="1000" b="0">
                  <a:solidFill>
                    <a:srgbClr val="484848"/>
                  </a:solidFill>
                  <a:latin typeface="Roboto"/>
                </a:rPr>
                <a:t>Distinguish numerical
and categorical data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268CADA8-ED8C-7008-BB4C-53B601AE5B6D}"/>
                </a:ext>
              </a:extLst>
            </p:cNvPr>
            <p:cNvSpPr txBox="1"/>
            <p:nvPr/>
          </p:nvSpPr>
          <p:spPr>
            <a:xfrm>
              <a:off x="3310182" y="3692410"/>
              <a:ext cx="1713611" cy="200055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anchor="t">
              <a:spAutoFit/>
            </a:bodyPr>
            <a:lstStyle/>
            <a:p>
              <a:pPr algn="ctr"/>
              <a:r>
                <a:rPr sz="1300" b="1">
                  <a:solidFill>
                    <a:srgbClr val="484848"/>
                  </a:solidFill>
                  <a:latin typeface="Roboto"/>
                </a:rPr>
                <a:t>Capture Unique Values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B1D533FE-FF49-C345-17ED-AB75E43EF16C}"/>
                </a:ext>
              </a:extLst>
            </p:cNvPr>
            <p:cNvSpPr txBox="1"/>
            <p:nvPr/>
          </p:nvSpPr>
          <p:spPr>
            <a:xfrm>
              <a:off x="6033012" y="3525809"/>
              <a:ext cx="1053173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anchor="t">
              <a:spAutoFit/>
            </a:bodyPr>
            <a:lstStyle/>
            <a:p>
              <a:pPr algn="ctr"/>
              <a:r>
                <a:rPr sz="1000" b="0">
                  <a:solidFill>
                    <a:srgbClr val="484848"/>
                  </a:solidFill>
                  <a:latin typeface="Roboto"/>
                </a:rPr>
                <a:t>Collect unique and
common values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BE209798-9373-2085-E5EA-62C56AB5F3E1}"/>
                </a:ext>
              </a:extLst>
            </p:cNvPr>
            <p:cNvSpPr txBox="1"/>
            <p:nvPr/>
          </p:nvSpPr>
          <p:spPr>
            <a:xfrm>
              <a:off x="3663659" y="4556933"/>
              <a:ext cx="1006686" cy="200055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anchor="t">
              <a:spAutoFit/>
            </a:bodyPr>
            <a:lstStyle/>
            <a:p>
              <a:pPr algn="ctr"/>
              <a:r>
                <a:rPr sz="1300" b="1">
                  <a:solidFill>
                    <a:srgbClr val="484848"/>
                  </a:solidFill>
                  <a:latin typeface="Roboto"/>
                </a:rPr>
                <a:t>Store Results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3564DE5E-39FB-0184-E117-C7D5F400F026}"/>
                </a:ext>
              </a:extLst>
            </p:cNvPr>
            <p:cNvSpPr txBox="1"/>
            <p:nvPr/>
          </p:nvSpPr>
          <p:spPr>
            <a:xfrm>
              <a:off x="5656286" y="4390332"/>
              <a:ext cx="1080424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anchor="t">
              <a:spAutoFit/>
            </a:bodyPr>
            <a:lstStyle/>
            <a:p>
              <a:pPr algn="ctr"/>
              <a:r>
                <a:rPr sz="1000" b="0">
                  <a:solidFill>
                    <a:srgbClr val="484848"/>
                  </a:solidFill>
                  <a:latin typeface="Roboto"/>
                </a:rPr>
                <a:t>Organize data in a
consistent schema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476445B9-CB18-99BC-0EF7-FE1C3AC88E70}"/>
                </a:ext>
              </a:extLst>
            </p:cNvPr>
            <p:cNvSpPr txBox="1"/>
            <p:nvPr/>
          </p:nvSpPr>
          <p:spPr>
            <a:xfrm>
              <a:off x="3609976" y="5421457"/>
              <a:ext cx="1114088" cy="200055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anchor="t">
              <a:spAutoFit/>
            </a:bodyPr>
            <a:lstStyle/>
            <a:p>
              <a:pPr algn="ctr"/>
              <a:r>
                <a:rPr sz="1300" b="1">
                  <a:solidFill>
                    <a:srgbClr val="484848"/>
                  </a:solidFill>
                  <a:latin typeface="Roboto"/>
                </a:rPr>
                <a:t>Export Profiles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CB71B017-F3FB-E6D2-10B9-494235AB755B}"/>
                </a:ext>
              </a:extLst>
            </p:cNvPr>
            <p:cNvSpPr txBox="1"/>
            <p:nvPr/>
          </p:nvSpPr>
          <p:spPr>
            <a:xfrm>
              <a:off x="5316396" y="5254856"/>
              <a:ext cx="1280799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anchor="t">
              <a:spAutoFit/>
            </a:bodyPr>
            <a:lstStyle/>
            <a:p>
              <a:pPr algn="ctr"/>
              <a:r>
                <a:rPr sz="1000" b="0">
                  <a:solidFill>
                    <a:srgbClr val="484848"/>
                  </a:solidFill>
                  <a:latin typeface="Roboto"/>
                </a:rPr>
                <a:t>Output data in Delta or
CSV formats</a:t>
              </a:r>
            </a:p>
          </p:txBody>
        </p:sp>
        <p:sp>
          <p:nvSpPr>
            <p:cNvPr id="28" name="Rounded Rectangle 42">
              <a:extLst>
                <a:ext uri="{FF2B5EF4-FFF2-40B4-BE49-F238E27FC236}">
                  <a16:creationId xmlns:a16="http://schemas.microsoft.com/office/drawing/2014/main" id="{348E2F1B-E8C5-F5E1-2CD8-614ED8512A1D}"/>
                </a:ext>
              </a:extLst>
            </p:cNvPr>
            <p:cNvSpPr/>
            <p:nvPr/>
          </p:nvSpPr>
          <p:spPr>
            <a:xfrm>
              <a:off x="1078163" y="1837286"/>
              <a:ext cx="418753" cy="418755"/>
            </a:xfrm>
            <a:custGeom>
              <a:avLst/>
              <a:gdLst/>
              <a:ahLst/>
              <a:cxnLst/>
              <a:rect l="0" t="0" r="0" b="0"/>
              <a:pathLst>
                <a:path w="418753" h="418755">
                  <a:moveTo>
                    <a:pt x="382731" y="13508"/>
                  </a:moveTo>
                  <a:cubicBezTo>
                    <a:pt x="402543" y="13508"/>
                    <a:pt x="418753" y="29718"/>
                    <a:pt x="418753" y="49530"/>
                  </a:cubicBezTo>
                  <a:lnTo>
                    <a:pt x="418753" y="121573"/>
                  </a:lnTo>
                  <a:lnTo>
                    <a:pt x="13508" y="121573"/>
                  </a:lnTo>
                  <a:lnTo>
                    <a:pt x="13508" y="49530"/>
                  </a:lnTo>
                  <a:cubicBezTo>
                    <a:pt x="13508" y="29718"/>
                    <a:pt x="29717" y="13508"/>
                    <a:pt x="49530" y="13508"/>
                  </a:cubicBezTo>
                  <a:close/>
                  <a:moveTo>
                    <a:pt x="148590" y="121573"/>
                  </a:moveTo>
                  <a:lnTo>
                    <a:pt x="148590" y="334102"/>
                  </a:lnTo>
                  <a:lnTo>
                    <a:pt x="49530" y="334102"/>
                  </a:lnTo>
                  <a:cubicBezTo>
                    <a:pt x="29717" y="334102"/>
                    <a:pt x="13508" y="317892"/>
                    <a:pt x="13508" y="298080"/>
                  </a:cubicBezTo>
                  <a:lnTo>
                    <a:pt x="13508" y="121573"/>
                  </a:lnTo>
                  <a:close/>
                  <a:moveTo>
                    <a:pt x="13508" y="229639"/>
                  </a:moveTo>
                  <a:lnTo>
                    <a:pt x="148590" y="229639"/>
                  </a:lnTo>
                  <a:moveTo>
                    <a:pt x="233241" y="334102"/>
                  </a:moveTo>
                  <a:lnTo>
                    <a:pt x="148590" y="334102"/>
                  </a:lnTo>
                  <a:moveTo>
                    <a:pt x="148590" y="229639"/>
                  </a:moveTo>
                  <a:lnTo>
                    <a:pt x="215230" y="229639"/>
                  </a:lnTo>
                  <a:moveTo>
                    <a:pt x="283671" y="121573"/>
                  </a:moveTo>
                  <a:lnTo>
                    <a:pt x="418753" y="121573"/>
                  </a:lnTo>
                  <a:lnTo>
                    <a:pt x="418753" y="153993"/>
                  </a:lnTo>
                  <a:moveTo>
                    <a:pt x="0" y="0"/>
                  </a:moveTo>
                  <a:moveTo>
                    <a:pt x="362919" y="316091"/>
                  </a:moveTo>
                  <a:lnTo>
                    <a:pt x="278268" y="211628"/>
                  </a:lnTo>
                  <a:lnTo>
                    <a:pt x="418753" y="211628"/>
                  </a:lnTo>
                  <a:lnTo>
                    <a:pt x="418753" y="238644"/>
                  </a:lnTo>
                  <a:moveTo>
                    <a:pt x="0" y="0"/>
                  </a:moveTo>
                  <a:moveTo>
                    <a:pt x="362919" y="316091"/>
                  </a:moveTo>
                  <a:lnTo>
                    <a:pt x="278268" y="418755"/>
                  </a:lnTo>
                  <a:lnTo>
                    <a:pt x="418753" y="418755"/>
                  </a:lnTo>
                  <a:lnTo>
                    <a:pt x="418753" y="391739"/>
                  </a:lnTo>
                  <a:moveTo>
                    <a:pt x="283671" y="153993"/>
                  </a:moveTo>
                  <a:lnTo>
                    <a:pt x="283671" y="121573"/>
                  </a:lnTo>
                </a:path>
              </a:pathLst>
            </a:custGeom>
            <a:noFill/>
            <a:ln w="13507">
              <a:solidFill>
                <a:srgbClr val="484848"/>
              </a:solidFill>
            </a:ln>
          </p:spPr>
          <p:txBody>
            <a:bodyPr rtlCol="0" anchor="ctr"/>
            <a:lstStyle/>
            <a:p>
              <a:pPr algn="ctr"/>
              <a:endParaRPr/>
            </a:p>
          </p:txBody>
        </p:sp>
        <p:sp>
          <p:nvSpPr>
            <p:cNvPr id="29" name="Rounded Rectangle 43">
              <a:extLst>
                <a:ext uri="{FF2B5EF4-FFF2-40B4-BE49-F238E27FC236}">
                  <a16:creationId xmlns:a16="http://schemas.microsoft.com/office/drawing/2014/main" id="{F90301C2-1AFF-E343-1D14-BBFBE43453EF}"/>
                </a:ext>
              </a:extLst>
            </p:cNvPr>
            <p:cNvSpPr/>
            <p:nvPr/>
          </p:nvSpPr>
          <p:spPr>
            <a:xfrm>
              <a:off x="1537441" y="2710815"/>
              <a:ext cx="234141" cy="414250"/>
            </a:xfrm>
            <a:custGeom>
              <a:avLst/>
              <a:gdLst/>
              <a:ahLst/>
              <a:cxnLst/>
              <a:rect l="0" t="0" r="0" b="0"/>
              <a:pathLst>
                <a:path w="234141" h="414250">
                  <a:moveTo>
                    <a:pt x="117070" y="373726"/>
                  </a:moveTo>
                  <a:cubicBezTo>
                    <a:pt x="114584" y="373726"/>
                    <a:pt x="112568" y="375742"/>
                    <a:pt x="112568" y="378229"/>
                  </a:cubicBezTo>
                  <a:lnTo>
                    <a:pt x="112568" y="378229"/>
                  </a:lnTo>
                  <a:cubicBezTo>
                    <a:pt x="112568" y="380715"/>
                    <a:pt x="114584" y="382731"/>
                    <a:pt x="117070" y="382731"/>
                  </a:cubicBezTo>
                  <a:lnTo>
                    <a:pt x="117070" y="382731"/>
                  </a:lnTo>
                  <a:cubicBezTo>
                    <a:pt x="119557" y="382731"/>
                    <a:pt x="121573" y="380715"/>
                    <a:pt x="121573" y="378229"/>
                  </a:cubicBezTo>
                  <a:lnTo>
                    <a:pt x="121573" y="378229"/>
                  </a:lnTo>
                  <a:cubicBezTo>
                    <a:pt x="121573" y="375742"/>
                    <a:pt x="119557" y="373726"/>
                    <a:pt x="117070" y="373726"/>
                  </a:cubicBezTo>
                  <a:moveTo>
                    <a:pt x="117070" y="373726"/>
                  </a:moveTo>
                  <a:lnTo>
                    <a:pt x="117070" y="373726"/>
                  </a:lnTo>
                  <a:moveTo>
                    <a:pt x="36021" y="0"/>
                  </a:moveTo>
                  <a:lnTo>
                    <a:pt x="198120" y="0"/>
                  </a:lnTo>
                  <a:cubicBezTo>
                    <a:pt x="198120" y="0"/>
                    <a:pt x="234141" y="0"/>
                    <a:pt x="234141" y="36021"/>
                  </a:cubicBezTo>
                  <a:lnTo>
                    <a:pt x="234141" y="378229"/>
                  </a:lnTo>
                  <a:cubicBezTo>
                    <a:pt x="234141" y="378229"/>
                    <a:pt x="234141" y="414250"/>
                    <a:pt x="198120" y="414250"/>
                  </a:cubicBezTo>
                  <a:lnTo>
                    <a:pt x="36021" y="414250"/>
                  </a:lnTo>
                  <a:cubicBezTo>
                    <a:pt x="36021" y="414250"/>
                    <a:pt x="0" y="414250"/>
                    <a:pt x="0" y="378229"/>
                  </a:cubicBezTo>
                  <a:lnTo>
                    <a:pt x="0" y="36021"/>
                  </a:lnTo>
                  <a:cubicBezTo>
                    <a:pt x="0" y="36021"/>
                    <a:pt x="0" y="0"/>
                    <a:pt x="36021" y="0"/>
                  </a:cubicBezTo>
                  <a:moveTo>
                    <a:pt x="0" y="342207"/>
                  </a:moveTo>
                  <a:lnTo>
                    <a:pt x="234141" y="342207"/>
                  </a:lnTo>
                  <a:moveTo>
                    <a:pt x="0" y="72043"/>
                  </a:moveTo>
                  <a:lnTo>
                    <a:pt x="234141" y="72043"/>
                  </a:lnTo>
                  <a:moveTo>
                    <a:pt x="90054" y="36021"/>
                  </a:moveTo>
                  <a:lnTo>
                    <a:pt x="144087" y="36021"/>
                  </a:lnTo>
                  <a:moveTo>
                    <a:pt x="36021" y="189114"/>
                  </a:moveTo>
                  <a:cubicBezTo>
                    <a:pt x="36021" y="223929"/>
                    <a:pt x="64244" y="252152"/>
                    <a:pt x="99060" y="252152"/>
                  </a:cubicBezTo>
                  <a:cubicBezTo>
                    <a:pt x="133875" y="252152"/>
                    <a:pt x="162098" y="223929"/>
                    <a:pt x="162098" y="189114"/>
                  </a:cubicBezTo>
                  <a:cubicBezTo>
                    <a:pt x="162098" y="154299"/>
                    <a:pt x="133875" y="126076"/>
                    <a:pt x="99060" y="126076"/>
                  </a:cubicBezTo>
                  <a:cubicBezTo>
                    <a:pt x="64244" y="126076"/>
                    <a:pt x="36021" y="154299"/>
                    <a:pt x="36021" y="189114"/>
                  </a:cubicBezTo>
                  <a:moveTo>
                    <a:pt x="143637" y="233691"/>
                  </a:moveTo>
                  <a:lnTo>
                    <a:pt x="189114" y="279169"/>
                  </a:lnTo>
                </a:path>
              </a:pathLst>
            </a:custGeom>
            <a:noFill/>
            <a:ln w="13507">
              <a:solidFill>
                <a:srgbClr val="484848"/>
              </a:solidFill>
            </a:ln>
          </p:spPr>
          <p:txBody>
            <a:bodyPr rtlCol="0" anchor="ctr"/>
            <a:lstStyle/>
            <a:p>
              <a:pPr algn="ctr"/>
              <a:endParaRPr/>
            </a:p>
          </p:txBody>
        </p:sp>
        <p:sp>
          <p:nvSpPr>
            <p:cNvPr id="30" name="Rounded Rectangle 44">
              <a:extLst>
                <a:ext uri="{FF2B5EF4-FFF2-40B4-BE49-F238E27FC236}">
                  <a16:creationId xmlns:a16="http://schemas.microsoft.com/office/drawing/2014/main" id="{7FADD73C-EA02-E199-6378-49A91C3372EF}"/>
                </a:ext>
              </a:extLst>
            </p:cNvPr>
            <p:cNvSpPr/>
            <p:nvPr/>
          </p:nvSpPr>
          <p:spPr>
            <a:xfrm>
              <a:off x="1812107" y="3579841"/>
              <a:ext cx="405245" cy="405245"/>
            </a:xfrm>
            <a:custGeom>
              <a:avLst/>
              <a:gdLst/>
              <a:ahLst/>
              <a:cxnLst/>
              <a:rect l="0" t="0" r="0" b="0"/>
              <a:pathLst>
                <a:path w="405245" h="405245">
                  <a:moveTo>
                    <a:pt x="351212" y="133281"/>
                  </a:moveTo>
                  <a:lnTo>
                    <a:pt x="351212" y="79248"/>
                  </a:lnTo>
                  <a:cubicBezTo>
                    <a:pt x="351212" y="64839"/>
                    <a:pt x="338605" y="52231"/>
                    <a:pt x="324196" y="52231"/>
                  </a:cubicBezTo>
                  <a:lnTo>
                    <a:pt x="253352" y="52231"/>
                  </a:lnTo>
                  <a:moveTo>
                    <a:pt x="100260" y="54032"/>
                  </a:moveTo>
                  <a:lnTo>
                    <a:pt x="27016" y="54032"/>
                  </a:lnTo>
                  <a:cubicBezTo>
                    <a:pt x="12607" y="54032"/>
                    <a:pt x="0" y="66640"/>
                    <a:pt x="0" y="81049"/>
                  </a:cubicBezTo>
                  <a:lnTo>
                    <a:pt x="0" y="378229"/>
                  </a:lnTo>
                  <a:cubicBezTo>
                    <a:pt x="0" y="392637"/>
                    <a:pt x="12607" y="405245"/>
                    <a:pt x="27016" y="405245"/>
                  </a:cubicBezTo>
                  <a:lnTo>
                    <a:pt x="198120" y="405245"/>
                  </a:lnTo>
                  <a:moveTo>
                    <a:pt x="246749" y="72043"/>
                  </a:moveTo>
                  <a:cubicBezTo>
                    <a:pt x="244948" y="77446"/>
                    <a:pt x="239545" y="81049"/>
                    <a:pt x="234141" y="81049"/>
                  </a:cubicBezTo>
                  <a:lnTo>
                    <a:pt x="118872" y="81049"/>
                  </a:lnTo>
                  <a:cubicBezTo>
                    <a:pt x="113468" y="81049"/>
                    <a:pt x="108065" y="77446"/>
                    <a:pt x="106264" y="72043"/>
                  </a:cubicBezTo>
                  <a:lnTo>
                    <a:pt x="88253" y="18010"/>
                  </a:lnTo>
                  <a:cubicBezTo>
                    <a:pt x="86452" y="14408"/>
                    <a:pt x="88253" y="9005"/>
                    <a:pt x="90054" y="5403"/>
                  </a:cubicBezTo>
                  <a:cubicBezTo>
                    <a:pt x="91855" y="1800"/>
                    <a:pt x="97259" y="0"/>
                    <a:pt x="100861" y="0"/>
                  </a:cubicBezTo>
                  <a:lnTo>
                    <a:pt x="252152" y="0"/>
                  </a:lnTo>
                  <a:cubicBezTo>
                    <a:pt x="255754" y="0"/>
                    <a:pt x="261158" y="1800"/>
                    <a:pt x="262959" y="5403"/>
                  </a:cubicBezTo>
                  <a:cubicBezTo>
                    <a:pt x="264760" y="9005"/>
                    <a:pt x="266561" y="12607"/>
                    <a:pt x="264760" y="18010"/>
                  </a:cubicBezTo>
                  <a:close/>
                  <a:moveTo>
                    <a:pt x="405245" y="187313"/>
                  </a:moveTo>
                  <a:lnTo>
                    <a:pt x="252152" y="187313"/>
                  </a:lnTo>
                  <a:lnTo>
                    <a:pt x="252152" y="403444"/>
                  </a:lnTo>
                  <a:lnTo>
                    <a:pt x="405245" y="403444"/>
                  </a:lnTo>
                  <a:close/>
                  <a:moveTo>
                    <a:pt x="405245" y="259357"/>
                  </a:moveTo>
                  <a:lnTo>
                    <a:pt x="252152" y="259357"/>
                  </a:lnTo>
                  <a:moveTo>
                    <a:pt x="405245" y="331400"/>
                  </a:moveTo>
                  <a:lnTo>
                    <a:pt x="252152" y="331400"/>
                  </a:lnTo>
                </a:path>
              </a:pathLst>
            </a:custGeom>
            <a:noFill/>
            <a:ln w="13507">
              <a:solidFill>
                <a:srgbClr val="484848"/>
              </a:solidFill>
            </a:ln>
          </p:spPr>
          <p:txBody>
            <a:bodyPr rtlCol="0" anchor="ctr"/>
            <a:lstStyle/>
            <a:p>
              <a:pPr algn="ctr"/>
              <a:endParaRPr/>
            </a:p>
          </p:txBody>
        </p:sp>
        <p:sp>
          <p:nvSpPr>
            <p:cNvPr id="31" name="Rounded Rectangle 45">
              <a:extLst>
                <a:ext uri="{FF2B5EF4-FFF2-40B4-BE49-F238E27FC236}">
                  <a16:creationId xmlns:a16="http://schemas.microsoft.com/office/drawing/2014/main" id="{E728EF4B-5F4E-80AA-D854-7D821ED678F1}"/>
                </a:ext>
              </a:extLst>
            </p:cNvPr>
            <p:cNvSpPr/>
            <p:nvPr/>
          </p:nvSpPr>
          <p:spPr>
            <a:xfrm>
              <a:off x="2177206" y="4439880"/>
              <a:ext cx="414232" cy="424903"/>
            </a:xfrm>
            <a:custGeom>
              <a:avLst/>
              <a:gdLst/>
              <a:ahLst/>
              <a:cxnLst/>
              <a:rect l="0" t="0" r="0" b="0"/>
              <a:pathLst>
                <a:path w="414232" h="424903">
                  <a:moveTo>
                    <a:pt x="0" y="72043"/>
                  </a:moveTo>
                  <a:cubicBezTo>
                    <a:pt x="0" y="111832"/>
                    <a:pt x="76605" y="144087"/>
                    <a:pt x="171103" y="144087"/>
                  </a:cubicBezTo>
                  <a:cubicBezTo>
                    <a:pt x="265601" y="144087"/>
                    <a:pt x="342207" y="111832"/>
                    <a:pt x="342207" y="72043"/>
                  </a:cubicBezTo>
                  <a:cubicBezTo>
                    <a:pt x="342207" y="32255"/>
                    <a:pt x="265601" y="0"/>
                    <a:pt x="171103" y="0"/>
                  </a:cubicBezTo>
                  <a:cubicBezTo>
                    <a:pt x="76605" y="0"/>
                    <a:pt x="0" y="32255"/>
                    <a:pt x="0" y="72043"/>
                  </a:cubicBezTo>
                  <a:close/>
                  <a:moveTo>
                    <a:pt x="171103" y="216112"/>
                  </a:moveTo>
                  <a:cubicBezTo>
                    <a:pt x="76618" y="216112"/>
                    <a:pt x="0" y="183873"/>
                    <a:pt x="0" y="144069"/>
                  </a:cubicBezTo>
                  <a:moveTo>
                    <a:pt x="0" y="225118"/>
                  </a:moveTo>
                  <a:cubicBezTo>
                    <a:pt x="0" y="262364"/>
                    <a:pt x="67072" y="293001"/>
                    <a:pt x="153092" y="296783"/>
                  </a:cubicBezTo>
                  <a:moveTo>
                    <a:pt x="153092" y="377832"/>
                  </a:moveTo>
                  <a:cubicBezTo>
                    <a:pt x="67072" y="374050"/>
                    <a:pt x="0" y="343414"/>
                    <a:pt x="0" y="306185"/>
                  </a:cubicBezTo>
                  <a:lnTo>
                    <a:pt x="0" y="72025"/>
                  </a:lnTo>
                  <a:moveTo>
                    <a:pt x="342207" y="72043"/>
                  </a:moveTo>
                  <a:lnTo>
                    <a:pt x="342207" y="162098"/>
                  </a:lnTo>
                  <a:moveTo>
                    <a:pt x="333183" y="270163"/>
                  </a:moveTo>
                  <a:lnTo>
                    <a:pt x="414232" y="270163"/>
                  </a:lnTo>
                  <a:lnTo>
                    <a:pt x="414232" y="189114"/>
                  </a:lnTo>
                  <a:moveTo>
                    <a:pt x="408073" y="270145"/>
                  </a:moveTo>
                  <a:cubicBezTo>
                    <a:pt x="391665" y="223707"/>
                    <a:pt x="345933" y="194238"/>
                    <a:pt x="296865" y="198484"/>
                  </a:cubicBezTo>
                  <a:cubicBezTo>
                    <a:pt x="247796" y="202729"/>
                    <a:pt x="207806" y="239616"/>
                    <a:pt x="199619" y="288182"/>
                  </a:cubicBezTo>
                  <a:cubicBezTo>
                    <a:pt x="191431" y="336749"/>
                    <a:pt x="217118" y="384707"/>
                    <a:pt x="262082" y="404805"/>
                  </a:cubicBezTo>
                  <a:cubicBezTo>
                    <a:pt x="307047" y="424903"/>
                    <a:pt x="359912" y="412056"/>
                    <a:pt x="390638" y="373564"/>
                  </a:cubicBezTo>
                </a:path>
              </a:pathLst>
            </a:custGeom>
            <a:noFill/>
            <a:ln w="13507">
              <a:solidFill>
                <a:srgbClr val="484848"/>
              </a:solidFill>
            </a:ln>
          </p:spPr>
          <p:txBody>
            <a:bodyPr rtlCol="0" anchor="ctr"/>
            <a:lstStyle/>
            <a:p>
              <a:pPr algn="ctr"/>
              <a:endParaRPr/>
            </a:p>
          </p:txBody>
        </p:sp>
        <p:sp>
          <p:nvSpPr>
            <p:cNvPr id="32" name="Rounded Rectangle 46">
              <a:extLst>
                <a:ext uri="{FF2B5EF4-FFF2-40B4-BE49-F238E27FC236}">
                  <a16:creationId xmlns:a16="http://schemas.microsoft.com/office/drawing/2014/main" id="{B6EAA7B7-FF4F-E731-DF0C-5C47A316D5D9}"/>
                </a:ext>
              </a:extLst>
            </p:cNvPr>
            <p:cNvSpPr/>
            <p:nvPr/>
          </p:nvSpPr>
          <p:spPr>
            <a:xfrm>
              <a:off x="2537046" y="5317893"/>
              <a:ext cx="414250" cy="387236"/>
            </a:xfrm>
            <a:custGeom>
              <a:avLst/>
              <a:gdLst/>
              <a:ahLst/>
              <a:cxnLst/>
              <a:rect l="0" t="0" r="0" b="0"/>
              <a:pathLst>
                <a:path w="414250" h="387236">
                  <a:moveTo>
                    <a:pt x="414250" y="153094"/>
                  </a:moveTo>
                  <a:cubicBezTo>
                    <a:pt x="414250" y="133199"/>
                    <a:pt x="398123" y="117072"/>
                    <a:pt x="378229" y="117072"/>
                  </a:cubicBezTo>
                  <a:lnTo>
                    <a:pt x="36021" y="117072"/>
                  </a:lnTo>
                  <a:cubicBezTo>
                    <a:pt x="16127" y="117072"/>
                    <a:pt x="0" y="133199"/>
                    <a:pt x="0" y="153094"/>
                  </a:cubicBezTo>
                  <a:moveTo>
                    <a:pt x="18010" y="1"/>
                  </a:moveTo>
                  <a:cubicBezTo>
                    <a:pt x="8063" y="1"/>
                    <a:pt x="0" y="8065"/>
                    <a:pt x="0" y="18012"/>
                  </a:cubicBezTo>
                  <a:lnTo>
                    <a:pt x="0" y="369225"/>
                  </a:lnTo>
                  <a:cubicBezTo>
                    <a:pt x="0" y="379172"/>
                    <a:pt x="8063" y="387236"/>
                    <a:pt x="18010" y="387236"/>
                  </a:cubicBezTo>
                  <a:lnTo>
                    <a:pt x="396240" y="387236"/>
                  </a:lnTo>
                  <a:cubicBezTo>
                    <a:pt x="406187" y="387236"/>
                    <a:pt x="414250" y="379172"/>
                    <a:pt x="414250" y="369225"/>
                  </a:cubicBezTo>
                  <a:lnTo>
                    <a:pt x="414250" y="72045"/>
                  </a:lnTo>
                  <a:cubicBezTo>
                    <a:pt x="414250" y="62097"/>
                    <a:pt x="406187" y="54034"/>
                    <a:pt x="396240" y="54034"/>
                  </a:cubicBezTo>
                  <a:lnTo>
                    <a:pt x="203703" y="54034"/>
                  </a:lnTo>
                  <a:cubicBezTo>
                    <a:pt x="197340" y="54029"/>
                    <a:pt x="191452" y="50667"/>
                    <a:pt x="188214" y="45190"/>
                  </a:cubicBezTo>
                  <a:lnTo>
                    <a:pt x="165268" y="8844"/>
                  </a:lnTo>
                  <a:cubicBezTo>
                    <a:pt x="162026" y="3362"/>
                    <a:pt x="156129" y="0"/>
                    <a:pt x="149760" y="1"/>
                  </a:cubicBezTo>
                  <a:close/>
                </a:path>
              </a:pathLst>
            </a:custGeom>
            <a:noFill/>
            <a:ln w="13507">
              <a:solidFill>
                <a:srgbClr val="484848"/>
              </a:solidFill>
            </a:ln>
          </p:spPr>
          <p:txBody>
            <a:bodyPr rtlCol="0" anchor="ctr"/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888864259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558" y="161605"/>
            <a:ext cx="7692745" cy="685801"/>
          </a:xfrm>
        </p:spPr>
        <p:txBody>
          <a:bodyPr anchor="ctr">
            <a:normAutofit/>
          </a:bodyPr>
          <a:lstStyle/>
          <a:p>
            <a:pPr>
              <a:defRPr sz="3600" b="1">
                <a:solidFill>
                  <a:srgbClr val="1A1A66"/>
                </a:solidFill>
              </a:defRPr>
            </a:pPr>
            <a:r>
              <a:rPr lang="en-US" sz="2400" dirty="0">
                <a:solidFill>
                  <a:schemeClr val="accent2"/>
                </a:solidFill>
              </a:rPr>
              <a:t>Optimizing Model Performance with ModelMonitoringSDK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28CD724-744B-DBA7-73F6-437EF9C31EC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4559" y="6523002"/>
            <a:ext cx="5226261" cy="205613"/>
          </a:xfrm>
        </p:spPr>
        <p:txBody>
          <a:bodyPr/>
          <a:lstStyle/>
          <a:p>
            <a:endParaRPr lang="en-US"/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4A79BE25-107F-4555-01E9-A2753BA8C372}"/>
              </a:ext>
            </a:extLst>
          </p:cNvPr>
          <p:cNvGraphicFramePr>
            <a:graphicFrameLocks noGrp="1"/>
          </p:cNvGraphicFramePr>
          <p:nvPr>
            <p:ph type="chart" sz="quarter" idx="21"/>
            <p:extLst>
              <p:ext uri="{D42A27DB-BD31-4B8C-83A1-F6EECF244321}">
                <p14:modId xmlns:p14="http://schemas.microsoft.com/office/powerpoint/2010/main" val="4153492070"/>
              </p:ext>
            </p:extLst>
          </p:nvPr>
        </p:nvGraphicFramePr>
        <p:xfrm>
          <a:off x="232639" y="1777839"/>
          <a:ext cx="8678721" cy="28825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559" y="161605"/>
            <a:ext cx="7455190" cy="685801"/>
          </a:xfrm>
        </p:spPr>
        <p:txBody>
          <a:bodyPr anchor="ctr">
            <a:normAutofit/>
          </a:bodyPr>
          <a:lstStyle/>
          <a:p>
            <a:pPr>
              <a:defRPr sz="3600" b="1">
                <a:solidFill>
                  <a:srgbClr val="1A1A66"/>
                </a:solidFill>
              </a:defRPr>
            </a:pPr>
            <a:r>
              <a:rPr lang="en-IN" sz="2400" dirty="0">
                <a:solidFill>
                  <a:schemeClr val="accent2"/>
                </a:solidFill>
              </a:rPr>
              <a:t>Comprehensive Monitoring Utility Advantage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E3537205-D980-8FBD-2780-E7BBE850E18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4559" y="6523002"/>
            <a:ext cx="5226261" cy="205613"/>
          </a:xfrm>
        </p:spPr>
        <p:txBody>
          <a:bodyPr/>
          <a:lstStyle/>
          <a:p>
            <a:endParaRPr lang="en-US"/>
          </a:p>
        </p:txBody>
      </p:sp>
      <p:pic>
        <p:nvPicPr>
          <p:cNvPr id="16" name="Picture 15" descr="A close-up of a paper">
            <a:extLst>
              <a:ext uri="{FF2B5EF4-FFF2-40B4-BE49-F238E27FC236}">
                <a16:creationId xmlns:a16="http://schemas.microsoft.com/office/drawing/2014/main" id="{25305D76-D1A1-10AE-BCDF-E82F67C1F6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021526"/>
            <a:ext cx="9144000" cy="2814948"/>
          </a:xfrm>
          <a:prstGeom prst="rect">
            <a:avLst/>
          </a:prstGeom>
        </p:spPr>
      </p:pic>
    </p:spTree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559" y="161605"/>
            <a:ext cx="7455190" cy="685801"/>
          </a:xfrm>
        </p:spPr>
        <p:txBody>
          <a:bodyPr anchor="ctr">
            <a:normAutofit/>
          </a:bodyPr>
          <a:lstStyle/>
          <a:p>
            <a:pPr>
              <a:defRPr sz="3600" b="1">
                <a:solidFill>
                  <a:srgbClr val="1A1A66"/>
                </a:solidFill>
              </a:defRPr>
            </a:pPr>
            <a:r>
              <a:rPr lang="en-US" sz="2400" dirty="0">
                <a:solidFill>
                  <a:schemeClr val="accent2"/>
                </a:solidFill>
              </a:rPr>
              <a:t>Seamless Integration Across ML Workflows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591EA5D2-0AFF-F73B-9447-D0425FE1EE8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4559" y="6523002"/>
            <a:ext cx="5226261" cy="205613"/>
          </a:xfrm>
        </p:spPr>
        <p:txBody>
          <a:bodyPr/>
          <a:lstStyle/>
          <a:p>
            <a:endParaRPr lang="en-US"/>
          </a:p>
        </p:txBody>
      </p:sp>
      <p:pic>
        <p:nvPicPr>
          <p:cNvPr id="6" name="Picture 5" descr="A diagram of a workflow&#10;&#10;AI-generated content may be incorrect.">
            <a:extLst>
              <a:ext uri="{FF2B5EF4-FFF2-40B4-BE49-F238E27FC236}">
                <a16:creationId xmlns:a16="http://schemas.microsoft.com/office/drawing/2014/main" id="{93DE0C71-50BA-A7DB-4D55-8CF4BDCDAF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7108" y="1118647"/>
            <a:ext cx="6862641" cy="5133114"/>
          </a:xfrm>
          <a:prstGeom prst="rect">
            <a:avLst/>
          </a:prstGeom>
        </p:spPr>
      </p:pic>
    </p:spTree>
  </p:cSld>
  <p:clrMapOvr>
    <a:masterClrMapping/>
  </p:clrMapOvr>
  <p:transition spd="slow">
    <p:push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D147924-33EF-C13B-FF05-0F69A7A9018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28FAC4F-044D-C5C3-D652-1A76E98A53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025" y="161925"/>
            <a:ext cx="7456488" cy="685800"/>
          </a:xfrm>
        </p:spPr>
        <p:txBody>
          <a:bodyPr anchor="ctr">
            <a:normAutofit/>
          </a:bodyPr>
          <a:lstStyle/>
          <a:p>
            <a:pPr>
              <a:defRPr sz="3600" b="1">
                <a:solidFill>
                  <a:srgbClr val="1A1A66"/>
                </a:solidFill>
              </a:defRPr>
            </a:pPr>
            <a:r>
              <a:rPr lang="en-US" sz="2400" dirty="0">
                <a:solidFill>
                  <a:schemeClr val="accent2"/>
                </a:solidFill>
              </a:rPr>
              <a:t>Driving Scalable, Transparent, and Compliant ML Operations</a:t>
            </a:r>
          </a:p>
        </p:txBody>
      </p:sp>
      <p:graphicFrame>
        <p:nvGraphicFramePr>
          <p:cNvPr id="10" name="Content Placeholder 2">
            <a:extLst>
              <a:ext uri="{FF2B5EF4-FFF2-40B4-BE49-F238E27FC236}">
                <a16:creationId xmlns:a16="http://schemas.microsoft.com/office/drawing/2014/main" id="{233FC0A7-03CB-D428-BB46-0D9D47079195}"/>
              </a:ext>
            </a:extLst>
          </p:cNvPr>
          <p:cNvGraphicFramePr>
            <a:graphicFrameLocks noGrp="1"/>
          </p:cNvGraphicFramePr>
          <p:nvPr>
            <p:ph type="chart" sz="quarter" idx="21"/>
            <p:extLst>
              <p:ext uri="{D42A27DB-BD31-4B8C-83A1-F6EECF244321}">
                <p14:modId xmlns:p14="http://schemas.microsoft.com/office/powerpoint/2010/main" val="3282315036"/>
              </p:ext>
            </p:extLst>
          </p:nvPr>
        </p:nvGraphicFramePr>
        <p:xfrm>
          <a:off x="454025" y="1093788"/>
          <a:ext cx="8456613" cy="49101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654542653"/>
      </p:ext>
    </p:extLst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D57464-5B48-EFB1-143E-310EF29558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3F8131-6BEF-805A-1139-5E49B409DB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328" y="161605"/>
            <a:ext cx="7836407" cy="685801"/>
          </a:xfrm>
        </p:spPr>
        <p:txBody>
          <a:bodyPr anchor="ctr">
            <a:normAutofit/>
          </a:bodyPr>
          <a:lstStyle/>
          <a:p>
            <a:pPr>
              <a:defRPr sz="3600" b="1">
                <a:solidFill>
                  <a:srgbClr val="1A1A66"/>
                </a:solidFill>
              </a:defRPr>
            </a:pPr>
            <a:r>
              <a:rPr lang="fr-FR" sz="2400" dirty="0">
                <a:solidFill>
                  <a:schemeClr val="accent2"/>
                </a:solidFill>
              </a:rPr>
              <a:t>Platform - Agnostic Design: Flexible Multi - </a:t>
            </a:r>
            <a:r>
              <a:rPr lang="fr-FR" sz="2400" dirty="0" err="1">
                <a:solidFill>
                  <a:schemeClr val="accent2"/>
                </a:solidFill>
              </a:rPr>
              <a:t>Environment</a:t>
            </a:r>
            <a:r>
              <a:rPr lang="fr-FR" sz="2400" dirty="0">
                <a:solidFill>
                  <a:schemeClr val="accent2"/>
                </a:solidFill>
              </a:rPr>
              <a:t> Suppo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F0DB8C19-071C-99B1-F41E-C4394F8922C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4559" y="6523002"/>
            <a:ext cx="5226261" cy="205613"/>
          </a:xfrm>
        </p:spPr>
        <p:txBody>
          <a:bodyPr/>
          <a:lstStyle/>
          <a:p>
            <a:endParaRPr lang="en-US"/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A2FF6716-7D7D-18C7-3CDF-65C073FD61D8}"/>
              </a:ext>
            </a:extLst>
          </p:cNvPr>
          <p:cNvGrpSpPr/>
          <p:nvPr/>
        </p:nvGrpSpPr>
        <p:grpSpPr>
          <a:xfrm>
            <a:off x="540327" y="1498518"/>
            <a:ext cx="7588332" cy="4275116"/>
            <a:chOff x="777834" y="1587583"/>
            <a:chExt cx="7588332" cy="4275116"/>
          </a:xfrm>
        </p:grpSpPr>
        <p:sp>
          <p:nvSpPr>
            <p:cNvPr id="15" name="Rounded Rectangle 11">
              <a:extLst>
                <a:ext uri="{FF2B5EF4-FFF2-40B4-BE49-F238E27FC236}">
                  <a16:creationId xmlns:a16="http://schemas.microsoft.com/office/drawing/2014/main" id="{F7C7EEC3-47E1-15DB-F955-615911ADCBB7}"/>
                </a:ext>
              </a:extLst>
            </p:cNvPr>
            <p:cNvSpPr/>
            <p:nvPr/>
          </p:nvSpPr>
          <p:spPr>
            <a:xfrm>
              <a:off x="3556660" y="1587583"/>
              <a:ext cx="1603168" cy="641267"/>
            </a:xfrm>
            <a:custGeom>
              <a:avLst/>
              <a:gdLst/>
              <a:ahLst/>
              <a:cxnLst/>
              <a:rect l="0" t="0" r="0" b="0"/>
              <a:pathLst>
                <a:path w="1603168" h="641267">
                  <a:moveTo>
                    <a:pt x="1603168" y="587828"/>
                  </a:moveTo>
                  <a:cubicBezTo>
                    <a:pt x="1603168" y="617344"/>
                    <a:pt x="1579245" y="641267"/>
                    <a:pt x="1549729" y="641267"/>
                  </a:cubicBezTo>
                  <a:lnTo>
                    <a:pt x="1496290" y="641267"/>
                  </a:lnTo>
                  <a:lnTo>
                    <a:pt x="53438" y="641267"/>
                  </a:lnTo>
                  <a:cubicBezTo>
                    <a:pt x="23922" y="641267"/>
                    <a:pt x="0" y="617344"/>
                    <a:pt x="0" y="587828"/>
                  </a:cubicBezTo>
                  <a:lnTo>
                    <a:pt x="0" y="53438"/>
                  </a:lnTo>
                  <a:cubicBezTo>
                    <a:pt x="0" y="23922"/>
                    <a:pt x="23922" y="0"/>
                    <a:pt x="53438" y="0"/>
                  </a:cubicBezTo>
                  <a:lnTo>
                    <a:pt x="1549729" y="0"/>
                  </a:lnTo>
                  <a:cubicBezTo>
                    <a:pt x="1579245" y="0"/>
                    <a:pt x="1603168" y="23922"/>
                    <a:pt x="1603168" y="53438"/>
                  </a:cubicBezTo>
                  <a:lnTo>
                    <a:pt x="1603168" y="587828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rtlCol="0" anchor="ctr"/>
            <a:lstStyle/>
            <a:p>
              <a:pPr algn="ctr"/>
              <a:endParaRPr/>
            </a:p>
          </p:txBody>
        </p: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1EB9AB2C-FEC8-9432-EF1F-C372156D1FDE}"/>
                </a:ext>
              </a:extLst>
            </p:cNvPr>
            <p:cNvGrpSpPr/>
            <p:nvPr/>
          </p:nvGrpSpPr>
          <p:grpSpPr>
            <a:xfrm>
              <a:off x="777834" y="1587583"/>
              <a:ext cx="7588332" cy="4275116"/>
              <a:chOff x="777834" y="1587583"/>
              <a:chExt cx="7588332" cy="4275116"/>
            </a:xfrm>
          </p:grpSpPr>
          <p:sp>
            <p:nvSpPr>
              <p:cNvPr id="4" name="Rounded Rectangle 1">
                <a:extLst>
                  <a:ext uri="{FF2B5EF4-FFF2-40B4-BE49-F238E27FC236}">
                    <a16:creationId xmlns:a16="http://schemas.microsoft.com/office/drawing/2014/main" id="{12D832E7-A4D4-206D-5650-3778897F2F81}"/>
                  </a:ext>
                </a:extLst>
              </p:cNvPr>
              <p:cNvSpPr/>
              <p:nvPr/>
            </p:nvSpPr>
            <p:spPr>
              <a:xfrm>
                <a:off x="777834" y="1587583"/>
                <a:ext cx="2671948" cy="641267"/>
              </a:xfrm>
              <a:custGeom>
                <a:avLst/>
                <a:gdLst/>
                <a:ahLst/>
                <a:cxnLst/>
                <a:rect l="0" t="0" r="0" b="0"/>
                <a:pathLst>
                  <a:path w="2671948" h="641267">
                    <a:moveTo>
                      <a:pt x="2671948" y="587828"/>
                    </a:moveTo>
                    <a:cubicBezTo>
                      <a:pt x="2671948" y="617344"/>
                      <a:pt x="2648025" y="641267"/>
                      <a:pt x="2618509" y="641267"/>
                    </a:cubicBezTo>
                    <a:lnTo>
                      <a:pt x="2565070" y="641267"/>
                    </a:lnTo>
                    <a:lnTo>
                      <a:pt x="53438" y="641267"/>
                    </a:lnTo>
                    <a:cubicBezTo>
                      <a:pt x="23922" y="641267"/>
                      <a:pt x="0" y="617344"/>
                      <a:pt x="0" y="587828"/>
                    </a:cubicBezTo>
                    <a:lnTo>
                      <a:pt x="0" y="53438"/>
                    </a:lnTo>
                    <a:cubicBezTo>
                      <a:pt x="0" y="23922"/>
                      <a:pt x="23922" y="0"/>
                      <a:pt x="53438" y="0"/>
                    </a:cubicBezTo>
                    <a:lnTo>
                      <a:pt x="2618509" y="0"/>
                    </a:lnTo>
                    <a:cubicBezTo>
                      <a:pt x="2648025" y="0"/>
                      <a:pt x="2671948" y="23922"/>
                      <a:pt x="2671948" y="53438"/>
                    </a:cubicBezTo>
                    <a:lnTo>
                      <a:pt x="2671948" y="587828"/>
                    </a:lnTo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>
                <a:solidFill>
                  <a:schemeClr val="accent1"/>
                </a:solidFill>
              </a:ln>
            </p:spPr>
            <p:txBody>
              <a:bodyPr rtlCol="0" anchor="ctr"/>
              <a:lstStyle/>
              <a:p>
                <a:pPr algn="ctr"/>
                <a:endParaRPr/>
              </a:p>
            </p:txBody>
          </p:sp>
          <p:sp>
            <p:nvSpPr>
              <p:cNvPr id="5" name="Rounded Rectangle 2">
                <a:extLst>
                  <a:ext uri="{FF2B5EF4-FFF2-40B4-BE49-F238E27FC236}">
                    <a16:creationId xmlns:a16="http://schemas.microsoft.com/office/drawing/2014/main" id="{CF9D3CCE-75E1-D4A3-DAA9-0BEA867A6D62}"/>
                  </a:ext>
                </a:extLst>
              </p:cNvPr>
              <p:cNvSpPr/>
              <p:nvPr/>
            </p:nvSpPr>
            <p:spPr>
              <a:xfrm>
                <a:off x="777834" y="1587583"/>
                <a:ext cx="2671948" cy="641267"/>
              </a:xfrm>
              <a:custGeom>
                <a:avLst/>
                <a:gdLst/>
                <a:ahLst/>
                <a:cxnLst/>
                <a:rect l="0" t="0" r="0" b="0"/>
                <a:pathLst>
                  <a:path w="2671948" h="641267">
                    <a:moveTo>
                      <a:pt x="0" y="106877"/>
                    </a:moveTo>
                    <a:lnTo>
                      <a:pt x="0" y="53438"/>
                    </a:lnTo>
                    <a:cubicBezTo>
                      <a:pt x="0" y="23925"/>
                      <a:pt x="23925" y="0"/>
                      <a:pt x="53438" y="0"/>
                    </a:cubicBezTo>
                    <a:lnTo>
                      <a:pt x="106877" y="0"/>
                    </a:lnTo>
                    <a:moveTo>
                      <a:pt x="2671948" y="106877"/>
                    </a:moveTo>
                    <a:lnTo>
                      <a:pt x="2671948" y="534389"/>
                    </a:lnTo>
                    <a:moveTo>
                      <a:pt x="0" y="534389"/>
                    </a:moveTo>
                    <a:lnTo>
                      <a:pt x="0" y="106877"/>
                    </a:lnTo>
                    <a:moveTo>
                      <a:pt x="106877" y="0"/>
                    </a:moveTo>
                    <a:lnTo>
                      <a:pt x="2565070" y="0"/>
                    </a:lnTo>
                    <a:moveTo>
                      <a:pt x="0" y="534389"/>
                    </a:moveTo>
                    <a:lnTo>
                      <a:pt x="0" y="587828"/>
                    </a:lnTo>
                    <a:cubicBezTo>
                      <a:pt x="0" y="617342"/>
                      <a:pt x="23925" y="641267"/>
                      <a:pt x="53438" y="641267"/>
                    </a:cubicBezTo>
                    <a:lnTo>
                      <a:pt x="106877" y="641267"/>
                    </a:lnTo>
                    <a:moveTo>
                      <a:pt x="2671948" y="106877"/>
                    </a:moveTo>
                    <a:lnTo>
                      <a:pt x="2671948" y="53438"/>
                    </a:lnTo>
                    <a:cubicBezTo>
                      <a:pt x="2671948" y="23925"/>
                      <a:pt x="2648022" y="0"/>
                      <a:pt x="2618509" y="0"/>
                    </a:cubicBezTo>
                    <a:lnTo>
                      <a:pt x="2565070" y="0"/>
                    </a:lnTo>
                    <a:moveTo>
                      <a:pt x="2565070" y="641267"/>
                    </a:moveTo>
                    <a:lnTo>
                      <a:pt x="106877" y="641267"/>
                    </a:lnTo>
                    <a:moveTo>
                      <a:pt x="2671948" y="534389"/>
                    </a:moveTo>
                    <a:lnTo>
                      <a:pt x="2671948" y="587828"/>
                    </a:lnTo>
                    <a:cubicBezTo>
                      <a:pt x="2671948" y="617342"/>
                      <a:pt x="2648022" y="641267"/>
                      <a:pt x="2618509" y="641267"/>
                    </a:cubicBezTo>
                    <a:lnTo>
                      <a:pt x="2565070" y="641267"/>
                    </a:lnTo>
                  </a:path>
                </a:pathLst>
              </a:custGeom>
              <a:noFill/>
              <a:ln w="6679">
                <a:solidFill>
                  <a:srgbClr val="484848"/>
                </a:solidFill>
              </a:ln>
            </p:spPr>
            <p:txBody>
              <a:bodyPr rtlCol="0" anchor="ctr"/>
              <a:lstStyle/>
              <a:p>
                <a:pPr algn="ctr"/>
                <a:endParaRPr/>
              </a:p>
            </p:txBody>
          </p:sp>
          <p:sp>
            <p:nvSpPr>
              <p:cNvPr id="6" name="Rounded Rectangle 3">
                <a:extLst>
                  <a:ext uri="{FF2B5EF4-FFF2-40B4-BE49-F238E27FC236}">
                    <a16:creationId xmlns:a16="http://schemas.microsoft.com/office/drawing/2014/main" id="{3111232D-FCE3-7897-A482-2A9F88DCCB7B}"/>
                  </a:ext>
                </a:extLst>
              </p:cNvPr>
              <p:cNvSpPr/>
              <p:nvPr/>
            </p:nvSpPr>
            <p:spPr>
              <a:xfrm>
                <a:off x="777834" y="2335728"/>
                <a:ext cx="2671948" cy="855023"/>
              </a:xfrm>
              <a:custGeom>
                <a:avLst/>
                <a:gdLst/>
                <a:ahLst/>
                <a:cxnLst/>
                <a:rect l="0" t="0" r="0" b="0"/>
                <a:pathLst>
                  <a:path w="2671948" h="855023">
                    <a:moveTo>
                      <a:pt x="2671948" y="801584"/>
                    </a:moveTo>
                    <a:cubicBezTo>
                      <a:pt x="2671948" y="831100"/>
                      <a:pt x="2648025" y="855023"/>
                      <a:pt x="2618509" y="855023"/>
                    </a:cubicBezTo>
                    <a:lnTo>
                      <a:pt x="2565070" y="855023"/>
                    </a:lnTo>
                    <a:lnTo>
                      <a:pt x="53438" y="855023"/>
                    </a:lnTo>
                    <a:cubicBezTo>
                      <a:pt x="23922" y="855023"/>
                      <a:pt x="0" y="831100"/>
                      <a:pt x="0" y="801584"/>
                    </a:cubicBezTo>
                    <a:lnTo>
                      <a:pt x="0" y="53438"/>
                    </a:lnTo>
                    <a:cubicBezTo>
                      <a:pt x="0" y="23922"/>
                      <a:pt x="23922" y="0"/>
                      <a:pt x="53438" y="0"/>
                    </a:cubicBezTo>
                    <a:lnTo>
                      <a:pt x="2618509" y="0"/>
                    </a:lnTo>
                    <a:cubicBezTo>
                      <a:pt x="2648025" y="0"/>
                      <a:pt x="2671948" y="23922"/>
                      <a:pt x="2671948" y="53438"/>
                    </a:cubicBezTo>
                    <a:lnTo>
                      <a:pt x="2671948" y="801584"/>
                    </a:lnTo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rtlCol="0" anchor="ctr"/>
              <a:lstStyle/>
              <a:p>
                <a:pPr algn="ctr"/>
                <a:endParaRPr/>
              </a:p>
            </p:txBody>
          </p:sp>
          <p:sp>
            <p:nvSpPr>
              <p:cNvPr id="7" name="Rounded Rectangle 4">
                <a:extLst>
                  <a:ext uri="{FF2B5EF4-FFF2-40B4-BE49-F238E27FC236}">
                    <a16:creationId xmlns:a16="http://schemas.microsoft.com/office/drawing/2014/main" id="{4B34EDF2-03D2-6E58-A300-8D7A4B5E6474}"/>
                  </a:ext>
                </a:extLst>
              </p:cNvPr>
              <p:cNvSpPr/>
              <p:nvPr/>
            </p:nvSpPr>
            <p:spPr>
              <a:xfrm>
                <a:off x="777834" y="2335728"/>
                <a:ext cx="2671948" cy="855023"/>
              </a:xfrm>
              <a:custGeom>
                <a:avLst/>
                <a:gdLst/>
                <a:ahLst/>
                <a:cxnLst/>
                <a:rect l="0" t="0" r="0" b="0"/>
                <a:pathLst>
                  <a:path w="2671948" h="855023">
                    <a:moveTo>
                      <a:pt x="0" y="106877"/>
                    </a:moveTo>
                    <a:lnTo>
                      <a:pt x="0" y="53438"/>
                    </a:lnTo>
                    <a:cubicBezTo>
                      <a:pt x="0" y="23925"/>
                      <a:pt x="23925" y="0"/>
                      <a:pt x="53438" y="0"/>
                    </a:cubicBezTo>
                    <a:lnTo>
                      <a:pt x="106877" y="0"/>
                    </a:lnTo>
                    <a:moveTo>
                      <a:pt x="2671948" y="106877"/>
                    </a:moveTo>
                    <a:lnTo>
                      <a:pt x="2671948" y="748145"/>
                    </a:lnTo>
                    <a:moveTo>
                      <a:pt x="0" y="748145"/>
                    </a:moveTo>
                    <a:lnTo>
                      <a:pt x="0" y="106877"/>
                    </a:lnTo>
                    <a:moveTo>
                      <a:pt x="106877" y="0"/>
                    </a:moveTo>
                    <a:lnTo>
                      <a:pt x="2565070" y="0"/>
                    </a:lnTo>
                    <a:moveTo>
                      <a:pt x="0" y="748145"/>
                    </a:moveTo>
                    <a:lnTo>
                      <a:pt x="0" y="801584"/>
                    </a:lnTo>
                    <a:cubicBezTo>
                      <a:pt x="0" y="831097"/>
                      <a:pt x="23925" y="855023"/>
                      <a:pt x="53438" y="855023"/>
                    </a:cubicBezTo>
                    <a:lnTo>
                      <a:pt x="106877" y="855023"/>
                    </a:lnTo>
                    <a:moveTo>
                      <a:pt x="2671948" y="106877"/>
                    </a:moveTo>
                    <a:lnTo>
                      <a:pt x="2671948" y="53438"/>
                    </a:lnTo>
                    <a:cubicBezTo>
                      <a:pt x="2671948" y="23925"/>
                      <a:pt x="2648022" y="0"/>
                      <a:pt x="2618509" y="0"/>
                    </a:cubicBezTo>
                    <a:lnTo>
                      <a:pt x="2565070" y="0"/>
                    </a:lnTo>
                    <a:moveTo>
                      <a:pt x="2565070" y="855023"/>
                    </a:moveTo>
                    <a:lnTo>
                      <a:pt x="106877" y="855023"/>
                    </a:lnTo>
                    <a:moveTo>
                      <a:pt x="2671948" y="748145"/>
                    </a:moveTo>
                    <a:lnTo>
                      <a:pt x="2671948" y="801584"/>
                    </a:lnTo>
                    <a:cubicBezTo>
                      <a:pt x="2671948" y="831097"/>
                      <a:pt x="2648022" y="855023"/>
                      <a:pt x="2618509" y="855023"/>
                    </a:cubicBezTo>
                    <a:lnTo>
                      <a:pt x="2565070" y="855023"/>
                    </a:lnTo>
                  </a:path>
                </a:pathLst>
              </a:custGeom>
              <a:noFill/>
              <a:ln w="6679">
                <a:solidFill>
                  <a:srgbClr val="484848"/>
                </a:solidFill>
              </a:ln>
            </p:spPr>
            <p:txBody>
              <a:bodyPr rtlCol="0" anchor="ctr"/>
              <a:lstStyle/>
              <a:p>
                <a:pPr algn="ctr"/>
                <a:endParaRPr/>
              </a:p>
            </p:txBody>
          </p:sp>
          <p:sp>
            <p:nvSpPr>
              <p:cNvPr id="8" name="Rounded Rectangle 5">
                <a:extLst>
                  <a:ext uri="{FF2B5EF4-FFF2-40B4-BE49-F238E27FC236}">
                    <a16:creationId xmlns:a16="http://schemas.microsoft.com/office/drawing/2014/main" id="{B242B8A3-CAFB-6EDC-7C72-48D28B172454}"/>
                  </a:ext>
                </a:extLst>
              </p:cNvPr>
              <p:cNvSpPr/>
              <p:nvPr/>
            </p:nvSpPr>
            <p:spPr>
              <a:xfrm>
                <a:off x="777834" y="3297629"/>
                <a:ext cx="2671948" cy="855023"/>
              </a:xfrm>
              <a:custGeom>
                <a:avLst/>
                <a:gdLst/>
                <a:ahLst/>
                <a:cxnLst/>
                <a:rect l="0" t="0" r="0" b="0"/>
                <a:pathLst>
                  <a:path w="2671948" h="855023">
                    <a:moveTo>
                      <a:pt x="2671948" y="801584"/>
                    </a:moveTo>
                    <a:cubicBezTo>
                      <a:pt x="2671948" y="831100"/>
                      <a:pt x="2648025" y="855023"/>
                      <a:pt x="2618509" y="855023"/>
                    </a:cubicBezTo>
                    <a:lnTo>
                      <a:pt x="2565070" y="855023"/>
                    </a:lnTo>
                    <a:lnTo>
                      <a:pt x="53438" y="855023"/>
                    </a:lnTo>
                    <a:cubicBezTo>
                      <a:pt x="23922" y="855023"/>
                      <a:pt x="0" y="831100"/>
                      <a:pt x="0" y="801584"/>
                    </a:cubicBezTo>
                    <a:lnTo>
                      <a:pt x="0" y="53438"/>
                    </a:lnTo>
                    <a:cubicBezTo>
                      <a:pt x="0" y="23922"/>
                      <a:pt x="23922" y="0"/>
                      <a:pt x="53438" y="0"/>
                    </a:cubicBezTo>
                    <a:lnTo>
                      <a:pt x="2618509" y="0"/>
                    </a:lnTo>
                    <a:cubicBezTo>
                      <a:pt x="2648025" y="0"/>
                      <a:pt x="2671948" y="23922"/>
                      <a:pt x="2671948" y="53438"/>
                    </a:cubicBezTo>
                    <a:lnTo>
                      <a:pt x="2671948" y="801584"/>
                    </a:lnTo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rtlCol="0" anchor="ctr"/>
              <a:lstStyle/>
              <a:p>
                <a:pPr algn="ctr"/>
                <a:endParaRPr/>
              </a:p>
            </p:txBody>
          </p:sp>
          <p:sp>
            <p:nvSpPr>
              <p:cNvPr id="9" name="Rounded Rectangle 6">
                <a:extLst>
                  <a:ext uri="{FF2B5EF4-FFF2-40B4-BE49-F238E27FC236}">
                    <a16:creationId xmlns:a16="http://schemas.microsoft.com/office/drawing/2014/main" id="{66774BD9-F69D-46F2-3703-A86CC9B504FD}"/>
                  </a:ext>
                </a:extLst>
              </p:cNvPr>
              <p:cNvSpPr/>
              <p:nvPr/>
            </p:nvSpPr>
            <p:spPr>
              <a:xfrm>
                <a:off x="777834" y="3297629"/>
                <a:ext cx="2671948" cy="855023"/>
              </a:xfrm>
              <a:custGeom>
                <a:avLst/>
                <a:gdLst/>
                <a:ahLst/>
                <a:cxnLst/>
                <a:rect l="0" t="0" r="0" b="0"/>
                <a:pathLst>
                  <a:path w="2671948" h="855023">
                    <a:moveTo>
                      <a:pt x="0" y="106877"/>
                    </a:moveTo>
                    <a:lnTo>
                      <a:pt x="0" y="53438"/>
                    </a:lnTo>
                    <a:cubicBezTo>
                      <a:pt x="0" y="23925"/>
                      <a:pt x="23925" y="0"/>
                      <a:pt x="53438" y="0"/>
                    </a:cubicBezTo>
                    <a:lnTo>
                      <a:pt x="106877" y="0"/>
                    </a:lnTo>
                    <a:moveTo>
                      <a:pt x="2671948" y="106877"/>
                    </a:moveTo>
                    <a:lnTo>
                      <a:pt x="2671948" y="748145"/>
                    </a:lnTo>
                    <a:moveTo>
                      <a:pt x="0" y="748145"/>
                    </a:moveTo>
                    <a:lnTo>
                      <a:pt x="0" y="106877"/>
                    </a:lnTo>
                    <a:moveTo>
                      <a:pt x="106877" y="0"/>
                    </a:moveTo>
                    <a:lnTo>
                      <a:pt x="2565070" y="0"/>
                    </a:lnTo>
                    <a:moveTo>
                      <a:pt x="0" y="748145"/>
                    </a:moveTo>
                    <a:lnTo>
                      <a:pt x="0" y="801584"/>
                    </a:lnTo>
                    <a:cubicBezTo>
                      <a:pt x="0" y="831097"/>
                      <a:pt x="23925" y="855023"/>
                      <a:pt x="53438" y="855023"/>
                    </a:cubicBezTo>
                    <a:lnTo>
                      <a:pt x="106877" y="855023"/>
                    </a:lnTo>
                    <a:moveTo>
                      <a:pt x="2671948" y="106877"/>
                    </a:moveTo>
                    <a:lnTo>
                      <a:pt x="2671948" y="53438"/>
                    </a:lnTo>
                    <a:cubicBezTo>
                      <a:pt x="2671948" y="23925"/>
                      <a:pt x="2648022" y="0"/>
                      <a:pt x="2618509" y="0"/>
                    </a:cubicBezTo>
                    <a:lnTo>
                      <a:pt x="2565070" y="0"/>
                    </a:lnTo>
                    <a:moveTo>
                      <a:pt x="2565070" y="855023"/>
                    </a:moveTo>
                    <a:lnTo>
                      <a:pt x="106877" y="855023"/>
                    </a:lnTo>
                    <a:moveTo>
                      <a:pt x="2671948" y="748145"/>
                    </a:moveTo>
                    <a:lnTo>
                      <a:pt x="2671948" y="801584"/>
                    </a:lnTo>
                    <a:cubicBezTo>
                      <a:pt x="2671948" y="831097"/>
                      <a:pt x="2648022" y="855023"/>
                      <a:pt x="2618509" y="855023"/>
                    </a:cubicBezTo>
                    <a:lnTo>
                      <a:pt x="2565070" y="855023"/>
                    </a:lnTo>
                  </a:path>
                </a:pathLst>
              </a:custGeom>
              <a:noFill/>
              <a:ln w="6679">
                <a:solidFill>
                  <a:srgbClr val="484848"/>
                </a:solidFill>
              </a:ln>
            </p:spPr>
            <p:txBody>
              <a:bodyPr rtlCol="0" anchor="ctr"/>
              <a:lstStyle/>
              <a:p>
                <a:pPr algn="ctr"/>
                <a:endParaRPr/>
              </a:p>
            </p:txBody>
          </p:sp>
          <p:sp>
            <p:nvSpPr>
              <p:cNvPr id="10" name="Rounded Rectangle 7">
                <a:extLst>
                  <a:ext uri="{FF2B5EF4-FFF2-40B4-BE49-F238E27FC236}">
                    <a16:creationId xmlns:a16="http://schemas.microsoft.com/office/drawing/2014/main" id="{E27E5C94-294B-9C6C-F23A-538B7EA23676}"/>
                  </a:ext>
                </a:extLst>
              </p:cNvPr>
              <p:cNvSpPr/>
              <p:nvPr/>
            </p:nvSpPr>
            <p:spPr>
              <a:xfrm>
                <a:off x="777834" y="4259531"/>
                <a:ext cx="2671948" cy="748145"/>
              </a:xfrm>
              <a:custGeom>
                <a:avLst/>
                <a:gdLst/>
                <a:ahLst/>
                <a:cxnLst/>
                <a:rect l="0" t="0" r="0" b="0"/>
                <a:pathLst>
                  <a:path w="2671948" h="748145">
                    <a:moveTo>
                      <a:pt x="2671948" y="694706"/>
                    </a:moveTo>
                    <a:cubicBezTo>
                      <a:pt x="2671948" y="724222"/>
                      <a:pt x="2648025" y="748145"/>
                      <a:pt x="2618509" y="748145"/>
                    </a:cubicBezTo>
                    <a:lnTo>
                      <a:pt x="2565070" y="748145"/>
                    </a:lnTo>
                    <a:lnTo>
                      <a:pt x="53438" y="748145"/>
                    </a:lnTo>
                    <a:cubicBezTo>
                      <a:pt x="23922" y="748145"/>
                      <a:pt x="0" y="724222"/>
                      <a:pt x="0" y="694706"/>
                    </a:cubicBezTo>
                    <a:lnTo>
                      <a:pt x="0" y="53438"/>
                    </a:lnTo>
                    <a:cubicBezTo>
                      <a:pt x="0" y="23922"/>
                      <a:pt x="23922" y="0"/>
                      <a:pt x="53438" y="0"/>
                    </a:cubicBezTo>
                    <a:lnTo>
                      <a:pt x="2618509" y="0"/>
                    </a:lnTo>
                    <a:cubicBezTo>
                      <a:pt x="2648025" y="0"/>
                      <a:pt x="2671948" y="23922"/>
                      <a:pt x="2671948" y="53438"/>
                    </a:cubicBezTo>
                    <a:lnTo>
                      <a:pt x="2671948" y="694706"/>
                    </a:lnTo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rtlCol="0" anchor="ctr"/>
              <a:lstStyle/>
              <a:p>
                <a:pPr algn="ctr"/>
                <a:endParaRPr/>
              </a:p>
            </p:txBody>
          </p:sp>
          <p:sp>
            <p:nvSpPr>
              <p:cNvPr id="11" name="Rounded Rectangle 8">
                <a:extLst>
                  <a:ext uri="{FF2B5EF4-FFF2-40B4-BE49-F238E27FC236}">
                    <a16:creationId xmlns:a16="http://schemas.microsoft.com/office/drawing/2014/main" id="{461BBAA0-87E8-39DA-7BED-84557753FF6E}"/>
                  </a:ext>
                </a:extLst>
              </p:cNvPr>
              <p:cNvSpPr/>
              <p:nvPr/>
            </p:nvSpPr>
            <p:spPr>
              <a:xfrm>
                <a:off x="777834" y="4259531"/>
                <a:ext cx="2671948" cy="748145"/>
              </a:xfrm>
              <a:custGeom>
                <a:avLst/>
                <a:gdLst/>
                <a:ahLst/>
                <a:cxnLst/>
                <a:rect l="0" t="0" r="0" b="0"/>
                <a:pathLst>
                  <a:path w="2671948" h="748145">
                    <a:moveTo>
                      <a:pt x="0" y="106877"/>
                    </a:moveTo>
                    <a:lnTo>
                      <a:pt x="0" y="53438"/>
                    </a:lnTo>
                    <a:cubicBezTo>
                      <a:pt x="0" y="23925"/>
                      <a:pt x="23925" y="0"/>
                      <a:pt x="53438" y="0"/>
                    </a:cubicBezTo>
                    <a:lnTo>
                      <a:pt x="106877" y="0"/>
                    </a:lnTo>
                    <a:moveTo>
                      <a:pt x="2671948" y="106877"/>
                    </a:moveTo>
                    <a:lnTo>
                      <a:pt x="2671948" y="641267"/>
                    </a:lnTo>
                    <a:moveTo>
                      <a:pt x="0" y="641267"/>
                    </a:moveTo>
                    <a:lnTo>
                      <a:pt x="0" y="106877"/>
                    </a:lnTo>
                    <a:moveTo>
                      <a:pt x="106877" y="0"/>
                    </a:moveTo>
                    <a:lnTo>
                      <a:pt x="2565070" y="0"/>
                    </a:lnTo>
                    <a:moveTo>
                      <a:pt x="0" y="641267"/>
                    </a:moveTo>
                    <a:lnTo>
                      <a:pt x="0" y="694706"/>
                    </a:lnTo>
                    <a:cubicBezTo>
                      <a:pt x="0" y="724219"/>
                      <a:pt x="23925" y="748145"/>
                      <a:pt x="53438" y="748145"/>
                    </a:cubicBezTo>
                    <a:lnTo>
                      <a:pt x="106877" y="748145"/>
                    </a:lnTo>
                    <a:moveTo>
                      <a:pt x="2671948" y="106877"/>
                    </a:moveTo>
                    <a:lnTo>
                      <a:pt x="2671948" y="53438"/>
                    </a:lnTo>
                    <a:cubicBezTo>
                      <a:pt x="2671948" y="23925"/>
                      <a:pt x="2648022" y="0"/>
                      <a:pt x="2618509" y="0"/>
                    </a:cubicBezTo>
                    <a:lnTo>
                      <a:pt x="2565070" y="0"/>
                    </a:lnTo>
                    <a:moveTo>
                      <a:pt x="2565070" y="748145"/>
                    </a:moveTo>
                    <a:lnTo>
                      <a:pt x="106877" y="748145"/>
                    </a:lnTo>
                    <a:moveTo>
                      <a:pt x="2671948" y="641267"/>
                    </a:moveTo>
                    <a:lnTo>
                      <a:pt x="2671948" y="694706"/>
                    </a:lnTo>
                    <a:cubicBezTo>
                      <a:pt x="2671948" y="724219"/>
                      <a:pt x="2648022" y="748145"/>
                      <a:pt x="2618509" y="748145"/>
                    </a:cubicBezTo>
                    <a:lnTo>
                      <a:pt x="2565070" y="748145"/>
                    </a:lnTo>
                  </a:path>
                </a:pathLst>
              </a:custGeom>
              <a:noFill/>
              <a:ln w="6679">
                <a:solidFill>
                  <a:srgbClr val="484848"/>
                </a:solidFill>
              </a:ln>
            </p:spPr>
            <p:txBody>
              <a:bodyPr rtlCol="0" anchor="ctr"/>
              <a:lstStyle/>
              <a:p>
                <a:pPr algn="ctr"/>
                <a:endParaRPr/>
              </a:p>
            </p:txBody>
          </p:sp>
          <p:sp>
            <p:nvSpPr>
              <p:cNvPr id="12" name="Rounded Rectangle 9">
                <a:extLst>
                  <a:ext uri="{FF2B5EF4-FFF2-40B4-BE49-F238E27FC236}">
                    <a16:creationId xmlns:a16="http://schemas.microsoft.com/office/drawing/2014/main" id="{ED93426D-4D41-70A4-B3AB-9857BE66546F}"/>
                  </a:ext>
                </a:extLst>
              </p:cNvPr>
              <p:cNvSpPr/>
              <p:nvPr/>
            </p:nvSpPr>
            <p:spPr>
              <a:xfrm>
                <a:off x="777834" y="5114554"/>
                <a:ext cx="2671948" cy="748145"/>
              </a:xfrm>
              <a:custGeom>
                <a:avLst/>
                <a:gdLst/>
                <a:ahLst/>
                <a:cxnLst/>
                <a:rect l="0" t="0" r="0" b="0"/>
                <a:pathLst>
                  <a:path w="2671948" h="748145">
                    <a:moveTo>
                      <a:pt x="2671948" y="694706"/>
                    </a:moveTo>
                    <a:cubicBezTo>
                      <a:pt x="2671948" y="724222"/>
                      <a:pt x="2648025" y="748145"/>
                      <a:pt x="2618509" y="748145"/>
                    </a:cubicBezTo>
                    <a:lnTo>
                      <a:pt x="2565070" y="748145"/>
                    </a:lnTo>
                    <a:lnTo>
                      <a:pt x="53438" y="748145"/>
                    </a:lnTo>
                    <a:cubicBezTo>
                      <a:pt x="23922" y="748145"/>
                      <a:pt x="0" y="724222"/>
                      <a:pt x="0" y="694706"/>
                    </a:cubicBezTo>
                    <a:lnTo>
                      <a:pt x="0" y="53438"/>
                    </a:lnTo>
                    <a:cubicBezTo>
                      <a:pt x="0" y="23922"/>
                      <a:pt x="23922" y="0"/>
                      <a:pt x="53438" y="0"/>
                    </a:cubicBezTo>
                    <a:lnTo>
                      <a:pt x="2618509" y="0"/>
                    </a:lnTo>
                    <a:cubicBezTo>
                      <a:pt x="2648025" y="0"/>
                      <a:pt x="2671948" y="23922"/>
                      <a:pt x="2671948" y="53438"/>
                    </a:cubicBezTo>
                    <a:lnTo>
                      <a:pt x="2671948" y="694706"/>
                    </a:lnTo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rtlCol="0" anchor="ctr"/>
              <a:lstStyle/>
              <a:p>
                <a:pPr algn="ctr"/>
                <a:endParaRPr/>
              </a:p>
            </p:txBody>
          </p:sp>
          <p:sp>
            <p:nvSpPr>
              <p:cNvPr id="13" name="Rounded Rectangle 10">
                <a:extLst>
                  <a:ext uri="{FF2B5EF4-FFF2-40B4-BE49-F238E27FC236}">
                    <a16:creationId xmlns:a16="http://schemas.microsoft.com/office/drawing/2014/main" id="{33563BA2-E21C-FE3F-E15E-506474205241}"/>
                  </a:ext>
                </a:extLst>
              </p:cNvPr>
              <p:cNvSpPr/>
              <p:nvPr/>
            </p:nvSpPr>
            <p:spPr>
              <a:xfrm>
                <a:off x="777834" y="5114554"/>
                <a:ext cx="2671948" cy="748145"/>
              </a:xfrm>
              <a:custGeom>
                <a:avLst/>
                <a:gdLst/>
                <a:ahLst/>
                <a:cxnLst/>
                <a:rect l="0" t="0" r="0" b="0"/>
                <a:pathLst>
                  <a:path w="2671948" h="748145">
                    <a:moveTo>
                      <a:pt x="0" y="106877"/>
                    </a:moveTo>
                    <a:lnTo>
                      <a:pt x="0" y="53438"/>
                    </a:lnTo>
                    <a:cubicBezTo>
                      <a:pt x="0" y="23925"/>
                      <a:pt x="23925" y="0"/>
                      <a:pt x="53438" y="0"/>
                    </a:cubicBezTo>
                    <a:lnTo>
                      <a:pt x="106877" y="0"/>
                    </a:lnTo>
                    <a:moveTo>
                      <a:pt x="2671948" y="106877"/>
                    </a:moveTo>
                    <a:lnTo>
                      <a:pt x="2671948" y="641267"/>
                    </a:lnTo>
                    <a:moveTo>
                      <a:pt x="0" y="641267"/>
                    </a:moveTo>
                    <a:lnTo>
                      <a:pt x="0" y="106877"/>
                    </a:lnTo>
                    <a:moveTo>
                      <a:pt x="106877" y="0"/>
                    </a:moveTo>
                    <a:lnTo>
                      <a:pt x="2565070" y="0"/>
                    </a:lnTo>
                    <a:moveTo>
                      <a:pt x="0" y="641267"/>
                    </a:moveTo>
                    <a:lnTo>
                      <a:pt x="0" y="694706"/>
                    </a:lnTo>
                    <a:cubicBezTo>
                      <a:pt x="0" y="724219"/>
                      <a:pt x="23925" y="748145"/>
                      <a:pt x="53438" y="748145"/>
                    </a:cubicBezTo>
                    <a:lnTo>
                      <a:pt x="106877" y="748145"/>
                    </a:lnTo>
                    <a:moveTo>
                      <a:pt x="2671948" y="106877"/>
                    </a:moveTo>
                    <a:lnTo>
                      <a:pt x="2671948" y="53438"/>
                    </a:lnTo>
                    <a:cubicBezTo>
                      <a:pt x="2671948" y="23925"/>
                      <a:pt x="2648022" y="0"/>
                      <a:pt x="2618509" y="0"/>
                    </a:cubicBezTo>
                    <a:lnTo>
                      <a:pt x="2565070" y="0"/>
                    </a:lnTo>
                    <a:moveTo>
                      <a:pt x="2565070" y="748145"/>
                    </a:moveTo>
                    <a:lnTo>
                      <a:pt x="106877" y="748145"/>
                    </a:lnTo>
                    <a:moveTo>
                      <a:pt x="2671948" y="641267"/>
                    </a:moveTo>
                    <a:lnTo>
                      <a:pt x="2671948" y="694706"/>
                    </a:lnTo>
                    <a:cubicBezTo>
                      <a:pt x="2671948" y="724219"/>
                      <a:pt x="2648022" y="748145"/>
                      <a:pt x="2618509" y="748145"/>
                    </a:cubicBezTo>
                    <a:lnTo>
                      <a:pt x="2565070" y="748145"/>
                    </a:lnTo>
                  </a:path>
                </a:pathLst>
              </a:custGeom>
              <a:noFill/>
              <a:ln w="6679">
                <a:solidFill>
                  <a:srgbClr val="484848"/>
                </a:solidFill>
              </a:ln>
            </p:spPr>
            <p:txBody>
              <a:bodyPr rtlCol="0" anchor="ctr"/>
              <a:lstStyle/>
              <a:p>
                <a:pPr algn="ctr"/>
                <a:endParaRPr/>
              </a:p>
            </p:txBody>
          </p:sp>
          <p:sp>
            <p:nvSpPr>
              <p:cNvPr id="16" name="Rounded Rectangle 12">
                <a:extLst>
                  <a:ext uri="{FF2B5EF4-FFF2-40B4-BE49-F238E27FC236}">
                    <a16:creationId xmlns:a16="http://schemas.microsoft.com/office/drawing/2014/main" id="{5C541880-8635-F9A3-564A-ABBB313A181D}"/>
                  </a:ext>
                </a:extLst>
              </p:cNvPr>
              <p:cNvSpPr/>
              <p:nvPr/>
            </p:nvSpPr>
            <p:spPr>
              <a:xfrm>
                <a:off x="3556660" y="1587583"/>
                <a:ext cx="1603168" cy="641267"/>
              </a:xfrm>
              <a:custGeom>
                <a:avLst/>
                <a:gdLst/>
                <a:ahLst/>
                <a:cxnLst/>
                <a:rect l="0" t="0" r="0" b="0"/>
                <a:pathLst>
                  <a:path w="1603168" h="641267">
                    <a:moveTo>
                      <a:pt x="0" y="106877"/>
                    </a:moveTo>
                    <a:lnTo>
                      <a:pt x="0" y="53438"/>
                    </a:lnTo>
                    <a:cubicBezTo>
                      <a:pt x="0" y="23925"/>
                      <a:pt x="23925" y="0"/>
                      <a:pt x="53438" y="0"/>
                    </a:cubicBezTo>
                    <a:lnTo>
                      <a:pt x="106877" y="0"/>
                    </a:lnTo>
                    <a:moveTo>
                      <a:pt x="1603168" y="106877"/>
                    </a:moveTo>
                    <a:lnTo>
                      <a:pt x="1603168" y="534389"/>
                    </a:lnTo>
                    <a:moveTo>
                      <a:pt x="0" y="534389"/>
                    </a:moveTo>
                    <a:lnTo>
                      <a:pt x="0" y="106877"/>
                    </a:lnTo>
                    <a:moveTo>
                      <a:pt x="106877" y="0"/>
                    </a:moveTo>
                    <a:lnTo>
                      <a:pt x="1496290" y="0"/>
                    </a:lnTo>
                    <a:moveTo>
                      <a:pt x="0" y="534389"/>
                    </a:moveTo>
                    <a:lnTo>
                      <a:pt x="0" y="587828"/>
                    </a:lnTo>
                    <a:cubicBezTo>
                      <a:pt x="0" y="617342"/>
                      <a:pt x="23925" y="641267"/>
                      <a:pt x="53438" y="641267"/>
                    </a:cubicBezTo>
                    <a:lnTo>
                      <a:pt x="106877" y="641267"/>
                    </a:lnTo>
                    <a:moveTo>
                      <a:pt x="1603168" y="106877"/>
                    </a:moveTo>
                    <a:lnTo>
                      <a:pt x="1603168" y="53438"/>
                    </a:lnTo>
                    <a:cubicBezTo>
                      <a:pt x="1603168" y="23925"/>
                      <a:pt x="1579243" y="0"/>
                      <a:pt x="1549729" y="0"/>
                    </a:cubicBezTo>
                    <a:lnTo>
                      <a:pt x="1496290" y="0"/>
                    </a:lnTo>
                    <a:moveTo>
                      <a:pt x="1496290" y="641267"/>
                    </a:moveTo>
                    <a:lnTo>
                      <a:pt x="106877" y="641267"/>
                    </a:lnTo>
                    <a:moveTo>
                      <a:pt x="1603168" y="534389"/>
                    </a:moveTo>
                    <a:lnTo>
                      <a:pt x="1603168" y="587828"/>
                    </a:lnTo>
                    <a:cubicBezTo>
                      <a:pt x="1603168" y="617342"/>
                      <a:pt x="1579243" y="641267"/>
                      <a:pt x="1549729" y="641267"/>
                    </a:cubicBezTo>
                    <a:lnTo>
                      <a:pt x="1496290" y="641267"/>
                    </a:lnTo>
                  </a:path>
                </a:pathLst>
              </a:custGeom>
              <a:noFill/>
              <a:ln w="6679">
                <a:solidFill>
                  <a:srgbClr val="484848"/>
                </a:solidFill>
              </a:ln>
            </p:spPr>
            <p:txBody>
              <a:bodyPr rtlCol="0" anchor="ctr"/>
              <a:lstStyle/>
              <a:p>
                <a:pPr algn="ctr"/>
                <a:endParaRPr/>
              </a:p>
            </p:txBody>
          </p:sp>
          <p:sp>
            <p:nvSpPr>
              <p:cNvPr id="17" name="Rounded Rectangle 13">
                <a:extLst>
                  <a:ext uri="{FF2B5EF4-FFF2-40B4-BE49-F238E27FC236}">
                    <a16:creationId xmlns:a16="http://schemas.microsoft.com/office/drawing/2014/main" id="{46AE3079-3322-D054-6DA7-9F9C0748ED22}"/>
                  </a:ext>
                </a:extLst>
              </p:cNvPr>
              <p:cNvSpPr/>
              <p:nvPr/>
            </p:nvSpPr>
            <p:spPr>
              <a:xfrm>
                <a:off x="3556660" y="2335728"/>
                <a:ext cx="1603168" cy="855023"/>
              </a:xfrm>
              <a:custGeom>
                <a:avLst/>
                <a:gdLst/>
                <a:ahLst/>
                <a:cxnLst/>
                <a:rect l="0" t="0" r="0" b="0"/>
                <a:pathLst>
                  <a:path w="1603168" h="855023">
                    <a:moveTo>
                      <a:pt x="0" y="106877"/>
                    </a:moveTo>
                    <a:lnTo>
                      <a:pt x="0" y="53438"/>
                    </a:lnTo>
                    <a:cubicBezTo>
                      <a:pt x="0" y="23925"/>
                      <a:pt x="23925" y="0"/>
                      <a:pt x="53438" y="0"/>
                    </a:cubicBezTo>
                    <a:lnTo>
                      <a:pt x="106877" y="0"/>
                    </a:lnTo>
                    <a:moveTo>
                      <a:pt x="1603168" y="106877"/>
                    </a:moveTo>
                    <a:lnTo>
                      <a:pt x="1603168" y="748145"/>
                    </a:lnTo>
                    <a:moveTo>
                      <a:pt x="0" y="748145"/>
                    </a:moveTo>
                    <a:lnTo>
                      <a:pt x="0" y="106877"/>
                    </a:lnTo>
                    <a:moveTo>
                      <a:pt x="106877" y="0"/>
                    </a:moveTo>
                    <a:lnTo>
                      <a:pt x="1496290" y="0"/>
                    </a:lnTo>
                    <a:moveTo>
                      <a:pt x="0" y="748145"/>
                    </a:moveTo>
                    <a:lnTo>
                      <a:pt x="0" y="801584"/>
                    </a:lnTo>
                    <a:cubicBezTo>
                      <a:pt x="0" y="831097"/>
                      <a:pt x="23925" y="855023"/>
                      <a:pt x="53438" y="855023"/>
                    </a:cubicBezTo>
                    <a:lnTo>
                      <a:pt x="106877" y="855023"/>
                    </a:lnTo>
                    <a:moveTo>
                      <a:pt x="1603168" y="106877"/>
                    </a:moveTo>
                    <a:lnTo>
                      <a:pt x="1603168" y="53438"/>
                    </a:lnTo>
                    <a:cubicBezTo>
                      <a:pt x="1603168" y="23925"/>
                      <a:pt x="1579243" y="0"/>
                      <a:pt x="1549729" y="0"/>
                    </a:cubicBezTo>
                    <a:lnTo>
                      <a:pt x="1496290" y="0"/>
                    </a:lnTo>
                    <a:moveTo>
                      <a:pt x="1496290" y="855023"/>
                    </a:moveTo>
                    <a:lnTo>
                      <a:pt x="106877" y="855023"/>
                    </a:lnTo>
                    <a:moveTo>
                      <a:pt x="1603168" y="748145"/>
                    </a:moveTo>
                    <a:lnTo>
                      <a:pt x="1603168" y="801584"/>
                    </a:lnTo>
                    <a:cubicBezTo>
                      <a:pt x="1603168" y="831097"/>
                      <a:pt x="1579243" y="855023"/>
                      <a:pt x="1549729" y="855023"/>
                    </a:cubicBezTo>
                    <a:lnTo>
                      <a:pt x="1496290" y="855023"/>
                    </a:lnTo>
                  </a:path>
                </a:pathLst>
              </a:custGeom>
              <a:noFill/>
              <a:ln w="6679">
                <a:solidFill>
                  <a:srgbClr val="484848"/>
                </a:solidFill>
              </a:ln>
            </p:spPr>
            <p:txBody>
              <a:bodyPr rtlCol="0" anchor="ctr"/>
              <a:lstStyle/>
              <a:p>
                <a:pPr algn="ctr"/>
                <a:endParaRPr/>
              </a:p>
            </p:txBody>
          </p:sp>
          <p:sp>
            <p:nvSpPr>
              <p:cNvPr id="18" name="Rounded Rectangle 14">
                <a:extLst>
                  <a:ext uri="{FF2B5EF4-FFF2-40B4-BE49-F238E27FC236}">
                    <a16:creationId xmlns:a16="http://schemas.microsoft.com/office/drawing/2014/main" id="{5DC17FBA-8743-60F1-D7F2-C57A1852E9C8}"/>
                  </a:ext>
                </a:extLst>
              </p:cNvPr>
              <p:cNvSpPr/>
              <p:nvPr/>
            </p:nvSpPr>
            <p:spPr>
              <a:xfrm>
                <a:off x="3556660" y="3297629"/>
                <a:ext cx="1603168" cy="855023"/>
              </a:xfrm>
              <a:custGeom>
                <a:avLst/>
                <a:gdLst/>
                <a:ahLst/>
                <a:cxnLst/>
                <a:rect l="0" t="0" r="0" b="0"/>
                <a:pathLst>
                  <a:path w="1603168" h="855023">
                    <a:moveTo>
                      <a:pt x="0" y="106877"/>
                    </a:moveTo>
                    <a:lnTo>
                      <a:pt x="0" y="53438"/>
                    </a:lnTo>
                    <a:cubicBezTo>
                      <a:pt x="0" y="23925"/>
                      <a:pt x="23925" y="0"/>
                      <a:pt x="53438" y="0"/>
                    </a:cubicBezTo>
                    <a:lnTo>
                      <a:pt x="106877" y="0"/>
                    </a:lnTo>
                    <a:moveTo>
                      <a:pt x="1603168" y="106877"/>
                    </a:moveTo>
                    <a:lnTo>
                      <a:pt x="1603168" y="748145"/>
                    </a:lnTo>
                    <a:moveTo>
                      <a:pt x="0" y="748145"/>
                    </a:moveTo>
                    <a:lnTo>
                      <a:pt x="0" y="106877"/>
                    </a:lnTo>
                    <a:moveTo>
                      <a:pt x="106877" y="0"/>
                    </a:moveTo>
                    <a:lnTo>
                      <a:pt x="1496290" y="0"/>
                    </a:lnTo>
                    <a:moveTo>
                      <a:pt x="0" y="748145"/>
                    </a:moveTo>
                    <a:lnTo>
                      <a:pt x="0" y="801584"/>
                    </a:lnTo>
                    <a:cubicBezTo>
                      <a:pt x="0" y="831097"/>
                      <a:pt x="23925" y="855023"/>
                      <a:pt x="53438" y="855023"/>
                    </a:cubicBezTo>
                    <a:lnTo>
                      <a:pt x="106877" y="855023"/>
                    </a:lnTo>
                    <a:moveTo>
                      <a:pt x="1603168" y="106877"/>
                    </a:moveTo>
                    <a:lnTo>
                      <a:pt x="1603168" y="53438"/>
                    </a:lnTo>
                    <a:cubicBezTo>
                      <a:pt x="1603168" y="23925"/>
                      <a:pt x="1579243" y="0"/>
                      <a:pt x="1549729" y="0"/>
                    </a:cubicBezTo>
                    <a:lnTo>
                      <a:pt x="1496290" y="0"/>
                    </a:lnTo>
                    <a:moveTo>
                      <a:pt x="1496290" y="855023"/>
                    </a:moveTo>
                    <a:lnTo>
                      <a:pt x="106877" y="855023"/>
                    </a:lnTo>
                    <a:moveTo>
                      <a:pt x="1603168" y="748145"/>
                    </a:moveTo>
                    <a:lnTo>
                      <a:pt x="1603168" y="801584"/>
                    </a:lnTo>
                    <a:cubicBezTo>
                      <a:pt x="1603168" y="831097"/>
                      <a:pt x="1579243" y="855023"/>
                      <a:pt x="1549729" y="855023"/>
                    </a:cubicBezTo>
                    <a:lnTo>
                      <a:pt x="1496290" y="855023"/>
                    </a:lnTo>
                  </a:path>
                </a:pathLst>
              </a:custGeom>
              <a:noFill/>
              <a:ln w="6679">
                <a:solidFill>
                  <a:srgbClr val="484848"/>
                </a:solidFill>
              </a:ln>
            </p:spPr>
            <p:txBody>
              <a:bodyPr rtlCol="0" anchor="ctr"/>
              <a:lstStyle/>
              <a:p>
                <a:pPr algn="ctr"/>
                <a:endParaRPr/>
              </a:p>
            </p:txBody>
          </p:sp>
          <p:sp>
            <p:nvSpPr>
              <p:cNvPr id="19" name="Rounded Rectangle 15">
                <a:extLst>
                  <a:ext uri="{FF2B5EF4-FFF2-40B4-BE49-F238E27FC236}">
                    <a16:creationId xmlns:a16="http://schemas.microsoft.com/office/drawing/2014/main" id="{6202C5E9-E7FD-04D2-6F2C-0607AD2E4FE9}"/>
                  </a:ext>
                </a:extLst>
              </p:cNvPr>
              <p:cNvSpPr/>
              <p:nvPr/>
            </p:nvSpPr>
            <p:spPr>
              <a:xfrm>
                <a:off x="3556660" y="4259531"/>
                <a:ext cx="1603168" cy="748145"/>
              </a:xfrm>
              <a:custGeom>
                <a:avLst/>
                <a:gdLst/>
                <a:ahLst/>
                <a:cxnLst/>
                <a:rect l="0" t="0" r="0" b="0"/>
                <a:pathLst>
                  <a:path w="1603168" h="748145">
                    <a:moveTo>
                      <a:pt x="0" y="106877"/>
                    </a:moveTo>
                    <a:lnTo>
                      <a:pt x="0" y="53438"/>
                    </a:lnTo>
                    <a:cubicBezTo>
                      <a:pt x="0" y="23925"/>
                      <a:pt x="23925" y="0"/>
                      <a:pt x="53438" y="0"/>
                    </a:cubicBezTo>
                    <a:lnTo>
                      <a:pt x="106877" y="0"/>
                    </a:lnTo>
                    <a:moveTo>
                      <a:pt x="1603168" y="106877"/>
                    </a:moveTo>
                    <a:lnTo>
                      <a:pt x="1603168" y="641267"/>
                    </a:lnTo>
                    <a:moveTo>
                      <a:pt x="0" y="641267"/>
                    </a:moveTo>
                    <a:lnTo>
                      <a:pt x="0" y="106877"/>
                    </a:lnTo>
                    <a:moveTo>
                      <a:pt x="106877" y="0"/>
                    </a:moveTo>
                    <a:lnTo>
                      <a:pt x="1496290" y="0"/>
                    </a:lnTo>
                    <a:moveTo>
                      <a:pt x="0" y="641267"/>
                    </a:moveTo>
                    <a:lnTo>
                      <a:pt x="0" y="694706"/>
                    </a:lnTo>
                    <a:cubicBezTo>
                      <a:pt x="0" y="724219"/>
                      <a:pt x="23925" y="748145"/>
                      <a:pt x="53438" y="748145"/>
                    </a:cubicBezTo>
                    <a:lnTo>
                      <a:pt x="106877" y="748145"/>
                    </a:lnTo>
                    <a:moveTo>
                      <a:pt x="1603168" y="106877"/>
                    </a:moveTo>
                    <a:lnTo>
                      <a:pt x="1603168" y="53438"/>
                    </a:lnTo>
                    <a:cubicBezTo>
                      <a:pt x="1603168" y="23925"/>
                      <a:pt x="1579243" y="0"/>
                      <a:pt x="1549729" y="0"/>
                    </a:cubicBezTo>
                    <a:lnTo>
                      <a:pt x="1496290" y="0"/>
                    </a:lnTo>
                    <a:moveTo>
                      <a:pt x="1496290" y="748145"/>
                    </a:moveTo>
                    <a:lnTo>
                      <a:pt x="106877" y="748145"/>
                    </a:lnTo>
                    <a:moveTo>
                      <a:pt x="1603168" y="641267"/>
                    </a:moveTo>
                    <a:lnTo>
                      <a:pt x="1603168" y="694706"/>
                    </a:lnTo>
                    <a:cubicBezTo>
                      <a:pt x="1603168" y="724219"/>
                      <a:pt x="1579243" y="748145"/>
                      <a:pt x="1549729" y="748145"/>
                    </a:cubicBezTo>
                    <a:lnTo>
                      <a:pt x="1496290" y="748145"/>
                    </a:lnTo>
                  </a:path>
                </a:pathLst>
              </a:custGeom>
              <a:noFill/>
              <a:ln w="6679">
                <a:solidFill>
                  <a:srgbClr val="484848"/>
                </a:solidFill>
              </a:ln>
            </p:spPr>
            <p:txBody>
              <a:bodyPr rtlCol="0" anchor="ctr"/>
              <a:lstStyle/>
              <a:p>
                <a:pPr algn="ctr"/>
                <a:endParaRPr/>
              </a:p>
            </p:txBody>
          </p:sp>
          <p:sp>
            <p:nvSpPr>
              <p:cNvPr id="20" name="Rounded Rectangle 16">
                <a:extLst>
                  <a:ext uri="{FF2B5EF4-FFF2-40B4-BE49-F238E27FC236}">
                    <a16:creationId xmlns:a16="http://schemas.microsoft.com/office/drawing/2014/main" id="{27AD7E67-1ED2-AF01-A38A-7132E8CB7950}"/>
                  </a:ext>
                </a:extLst>
              </p:cNvPr>
              <p:cNvSpPr/>
              <p:nvPr/>
            </p:nvSpPr>
            <p:spPr>
              <a:xfrm>
                <a:off x="3556660" y="5114554"/>
                <a:ext cx="1603168" cy="748145"/>
              </a:xfrm>
              <a:custGeom>
                <a:avLst/>
                <a:gdLst/>
                <a:ahLst/>
                <a:cxnLst/>
                <a:rect l="0" t="0" r="0" b="0"/>
                <a:pathLst>
                  <a:path w="1603168" h="748145">
                    <a:moveTo>
                      <a:pt x="0" y="106877"/>
                    </a:moveTo>
                    <a:lnTo>
                      <a:pt x="0" y="53438"/>
                    </a:lnTo>
                    <a:cubicBezTo>
                      <a:pt x="0" y="23925"/>
                      <a:pt x="23925" y="0"/>
                      <a:pt x="53438" y="0"/>
                    </a:cubicBezTo>
                    <a:lnTo>
                      <a:pt x="106877" y="0"/>
                    </a:lnTo>
                    <a:moveTo>
                      <a:pt x="1603168" y="106877"/>
                    </a:moveTo>
                    <a:lnTo>
                      <a:pt x="1603168" y="641267"/>
                    </a:lnTo>
                    <a:moveTo>
                      <a:pt x="0" y="641267"/>
                    </a:moveTo>
                    <a:lnTo>
                      <a:pt x="0" y="106877"/>
                    </a:lnTo>
                    <a:moveTo>
                      <a:pt x="106877" y="0"/>
                    </a:moveTo>
                    <a:lnTo>
                      <a:pt x="1496290" y="0"/>
                    </a:lnTo>
                    <a:moveTo>
                      <a:pt x="0" y="641267"/>
                    </a:moveTo>
                    <a:lnTo>
                      <a:pt x="0" y="694706"/>
                    </a:lnTo>
                    <a:cubicBezTo>
                      <a:pt x="0" y="724219"/>
                      <a:pt x="23925" y="748145"/>
                      <a:pt x="53438" y="748145"/>
                    </a:cubicBezTo>
                    <a:lnTo>
                      <a:pt x="106877" y="748145"/>
                    </a:lnTo>
                    <a:moveTo>
                      <a:pt x="1603168" y="106877"/>
                    </a:moveTo>
                    <a:lnTo>
                      <a:pt x="1603168" y="53438"/>
                    </a:lnTo>
                    <a:cubicBezTo>
                      <a:pt x="1603168" y="23925"/>
                      <a:pt x="1579243" y="0"/>
                      <a:pt x="1549729" y="0"/>
                    </a:cubicBezTo>
                    <a:lnTo>
                      <a:pt x="1496290" y="0"/>
                    </a:lnTo>
                    <a:moveTo>
                      <a:pt x="1496290" y="748145"/>
                    </a:moveTo>
                    <a:lnTo>
                      <a:pt x="106877" y="748145"/>
                    </a:lnTo>
                    <a:moveTo>
                      <a:pt x="1603168" y="641267"/>
                    </a:moveTo>
                    <a:lnTo>
                      <a:pt x="1603168" y="694706"/>
                    </a:lnTo>
                    <a:cubicBezTo>
                      <a:pt x="1603168" y="724219"/>
                      <a:pt x="1579243" y="748145"/>
                      <a:pt x="1549729" y="748145"/>
                    </a:cubicBezTo>
                    <a:lnTo>
                      <a:pt x="1496290" y="748145"/>
                    </a:lnTo>
                  </a:path>
                </a:pathLst>
              </a:custGeom>
              <a:noFill/>
              <a:ln w="6679">
                <a:solidFill>
                  <a:srgbClr val="484848"/>
                </a:solidFill>
              </a:ln>
            </p:spPr>
            <p:txBody>
              <a:bodyPr rtlCol="0" anchor="ctr"/>
              <a:lstStyle/>
              <a:p>
                <a:pPr algn="ctr"/>
                <a:endParaRPr/>
              </a:p>
            </p:txBody>
          </p:sp>
          <p:sp>
            <p:nvSpPr>
              <p:cNvPr id="21" name="Rounded Rectangle 17">
                <a:extLst>
                  <a:ext uri="{FF2B5EF4-FFF2-40B4-BE49-F238E27FC236}">
                    <a16:creationId xmlns:a16="http://schemas.microsoft.com/office/drawing/2014/main" id="{667483B6-D12A-15CB-1D43-C07152D25482}"/>
                  </a:ext>
                </a:extLst>
              </p:cNvPr>
              <p:cNvSpPr/>
              <p:nvPr/>
            </p:nvSpPr>
            <p:spPr>
              <a:xfrm>
                <a:off x="5266707" y="1587583"/>
                <a:ext cx="1389412" cy="641267"/>
              </a:xfrm>
              <a:custGeom>
                <a:avLst/>
                <a:gdLst/>
                <a:ahLst/>
                <a:cxnLst/>
                <a:rect l="0" t="0" r="0" b="0"/>
                <a:pathLst>
                  <a:path w="1389412" h="641267">
                    <a:moveTo>
                      <a:pt x="1389412" y="587828"/>
                    </a:moveTo>
                    <a:cubicBezTo>
                      <a:pt x="1389412" y="617344"/>
                      <a:pt x="1365490" y="641267"/>
                      <a:pt x="1335974" y="641267"/>
                    </a:cubicBezTo>
                    <a:lnTo>
                      <a:pt x="1282535" y="641267"/>
                    </a:lnTo>
                    <a:lnTo>
                      <a:pt x="53438" y="641267"/>
                    </a:lnTo>
                    <a:cubicBezTo>
                      <a:pt x="23922" y="641267"/>
                      <a:pt x="0" y="617344"/>
                      <a:pt x="0" y="587828"/>
                    </a:cubicBezTo>
                    <a:lnTo>
                      <a:pt x="0" y="53438"/>
                    </a:lnTo>
                    <a:cubicBezTo>
                      <a:pt x="0" y="23922"/>
                      <a:pt x="23922" y="0"/>
                      <a:pt x="53438" y="0"/>
                    </a:cubicBezTo>
                    <a:lnTo>
                      <a:pt x="1335974" y="0"/>
                    </a:lnTo>
                    <a:cubicBezTo>
                      <a:pt x="1365490" y="0"/>
                      <a:pt x="1389412" y="23922"/>
                      <a:pt x="1389412" y="53438"/>
                    </a:cubicBezTo>
                    <a:lnTo>
                      <a:pt x="1389412" y="587828"/>
                    </a:lnTo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rtlCol="0" anchor="ctr"/>
              <a:lstStyle/>
              <a:p>
                <a:pPr algn="ctr"/>
                <a:endParaRPr/>
              </a:p>
            </p:txBody>
          </p:sp>
          <p:sp>
            <p:nvSpPr>
              <p:cNvPr id="22" name="Rounded Rectangle 18">
                <a:extLst>
                  <a:ext uri="{FF2B5EF4-FFF2-40B4-BE49-F238E27FC236}">
                    <a16:creationId xmlns:a16="http://schemas.microsoft.com/office/drawing/2014/main" id="{8B797791-C52C-B736-27D3-80B7B3E4C3E3}"/>
                  </a:ext>
                </a:extLst>
              </p:cNvPr>
              <p:cNvSpPr/>
              <p:nvPr/>
            </p:nvSpPr>
            <p:spPr>
              <a:xfrm>
                <a:off x="5266707" y="1587583"/>
                <a:ext cx="1389412" cy="641267"/>
              </a:xfrm>
              <a:custGeom>
                <a:avLst/>
                <a:gdLst/>
                <a:ahLst/>
                <a:cxnLst/>
                <a:rect l="0" t="0" r="0" b="0"/>
                <a:pathLst>
                  <a:path w="1389412" h="641267">
                    <a:moveTo>
                      <a:pt x="0" y="106877"/>
                    </a:moveTo>
                    <a:lnTo>
                      <a:pt x="0" y="53438"/>
                    </a:lnTo>
                    <a:cubicBezTo>
                      <a:pt x="0" y="23925"/>
                      <a:pt x="23925" y="0"/>
                      <a:pt x="53438" y="0"/>
                    </a:cubicBezTo>
                    <a:lnTo>
                      <a:pt x="106877" y="0"/>
                    </a:lnTo>
                    <a:moveTo>
                      <a:pt x="1389412" y="106877"/>
                    </a:moveTo>
                    <a:lnTo>
                      <a:pt x="1389412" y="534389"/>
                    </a:lnTo>
                    <a:moveTo>
                      <a:pt x="0" y="534389"/>
                    </a:moveTo>
                    <a:lnTo>
                      <a:pt x="0" y="106877"/>
                    </a:lnTo>
                    <a:moveTo>
                      <a:pt x="106877" y="0"/>
                    </a:moveTo>
                    <a:lnTo>
                      <a:pt x="1282535" y="0"/>
                    </a:lnTo>
                    <a:moveTo>
                      <a:pt x="0" y="534389"/>
                    </a:moveTo>
                    <a:lnTo>
                      <a:pt x="0" y="587828"/>
                    </a:lnTo>
                    <a:cubicBezTo>
                      <a:pt x="0" y="617342"/>
                      <a:pt x="23925" y="641267"/>
                      <a:pt x="53438" y="641267"/>
                    </a:cubicBezTo>
                    <a:lnTo>
                      <a:pt x="106877" y="641267"/>
                    </a:lnTo>
                    <a:moveTo>
                      <a:pt x="1389412" y="106877"/>
                    </a:moveTo>
                    <a:lnTo>
                      <a:pt x="1389412" y="53438"/>
                    </a:lnTo>
                    <a:cubicBezTo>
                      <a:pt x="1389412" y="23925"/>
                      <a:pt x="1365487" y="0"/>
                      <a:pt x="1335974" y="0"/>
                    </a:cubicBezTo>
                    <a:lnTo>
                      <a:pt x="1282535" y="0"/>
                    </a:lnTo>
                    <a:moveTo>
                      <a:pt x="1282535" y="641267"/>
                    </a:moveTo>
                    <a:lnTo>
                      <a:pt x="106877" y="641267"/>
                    </a:lnTo>
                    <a:moveTo>
                      <a:pt x="1389412" y="534389"/>
                    </a:moveTo>
                    <a:lnTo>
                      <a:pt x="1389412" y="587828"/>
                    </a:lnTo>
                    <a:cubicBezTo>
                      <a:pt x="1389412" y="617342"/>
                      <a:pt x="1365487" y="641267"/>
                      <a:pt x="1335974" y="641267"/>
                    </a:cubicBezTo>
                    <a:lnTo>
                      <a:pt x="1282535" y="641267"/>
                    </a:lnTo>
                  </a:path>
                </a:pathLst>
              </a:custGeom>
              <a:noFill/>
              <a:ln w="6679">
                <a:solidFill>
                  <a:srgbClr val="484848"/>
                </a:solidFill>
              </a:ln>
            </p:spPr>
            <p:txBody>
              <a:bodyPr rtlCol="0" anchor="ctr"/>
              <a:lstStyle/>
              <a:p>
                <a:pPr algn="ctr"/>
                <a:endParaRPr/>
              </a:p>
            </p:txBody>
          </p:sp>
          <p:sp>
            <p:nvSpPr>
              <p:cNvPr id="23" name="Rounded Rectangle 19">
                <a:extLst>
                  <a:ext uri="{FF2B5EF4-FFF2-40B4-BE49-F238E27FC236}">
                    <a16:creationId xmlns:a16="http://schemas.microsoft.com/office/drawing/2014/main" id="{5426E42A-352C-CBA4-0CC1-AB8E4565B040}"/>
                  </a:ext>
                </a:extLst>
              </p:cNvPr>
              <p:cNvSpPr/>
              <p:nvPr/>
            </p:nvSpPr>
            <p:spPr>
              <a:xfrm>
                <a:off x="5266707" y="2349088"/>
                <a:ext cx="1389412" cy="855023"/>
              </a:xfrm>
              <a:custGeom>
                <a:avLst/>
                <a:gdLst/>
                <a:ahLst/>
                <a:cxnLst/>
                <a:rect l="0" t="0" r="0" b="0"/>
                <a:pathLst>
                  <a:path w="1389412" h="855023">
                    <a:moveTo>
                      <a:pt x="0" y="106877"/>
                    </a:moveTo>
                    <a:lnTo>
                      <a:pt x="0" y="53438"/>
                    </a:lnTo>
                    <a:cubicBezTo>
                      <a:pt x="0" y="23925"/>
                      <a:pt x="23925" y="0"/>
                      <a:pt x="53438" y="0"/>
                    </a:cubicBezTo>
                    <a:lnTo>
                      <a:pt x="106877" y="0"/>
                    </a:lnTo>
                    <a:moveTo>
                      <a:pt x="1389412" y="106877"/>
                    </a:moveTo>
                    <a:lnTo>
                      <a:pt x="1389412" y="748145"/>
                    </a:lnTo>
                    <a:moveTo>
                      <a:pt x="0" y="748145"/>
                    </a:moveTo>
                    <a:lnTo>
                      <a:pt x="0" y="106877"/>
                    </a:lnTo>
                    <a:moveTo>
                      <a:pt x="106877" y="0"/>
                    </a:moveTo>
                    <a:lnTo>
                      <a:pt x="1282535" y="0"/>
                    </a:lnTo>
                    <a:moveTo>
                      <a:pt x="0" y="748145"/>
                    </a:moveTo>
                    <a:lnTo>
                      <a:pt x="0" y="801584"/>
                    </a:lnTo>
                    <a:cubicBezTo>
                      <a:pt x="0" y="831097"/>
                      <a:pt x="23925" y="855023"/>
                      <a:pt x="53438" y="855023"/>
                    </a:cubicBezTo>
                    <a:lnTo>
                      <a:pt x="106877" y="855023"/>
                    </a:lnTo>
                    <a:moveTo>
                      <a:pt x="1389412" y="106877"/>
                    </a:moveTo>
                    <a:lnTo>
                      <a:pt x="1389412" y="53438"/>
                    </a:lnTo>
                    <a:cubicBezTo>
                      <a:pt x="1389412" y="23925"/>
                      <a:pt x="1365487" y="0"/>
                      <a:pt x="1335974" y="0"/>
                    </a:cubicBezTo>
                    <a:lnTo>
                      <a:pt x="1282535" y="0"/>
                    </a:lnTo>
                    <a:moveTo>
                      <a:pt x="1282535" y="855023"/>
                    </a:moveTo>
                    <a:lnTo>
                      <a:pt x="106877" y="855023"/>
                    </a:lnTo>
                    <a:moveTo>
                      <a:pt x="1389412" y="748145"/>
                    </a:moveTo>
                    <a:lnTo>
                      <a:pt x="1389412" y="801584"/>
                    </a:lnTo>
                    <a:cubicBezTo>
                      <a:pt x="1389412" y="831097"/>
                      <a:pt x="1365487" y="855023"/>
                      <a:pt x="1335974" y="855023"/>
                    </a:cubicBezTo>
                    <a:lnTo>
                      <a:pt x="1282535" y="855023"/>
                    </a:lnTo>
                  </a:path>
                </a:pathLst>
              </a:custGeom>
              <a:noFill/>
              <a:ln w="6679">
                <a:solidFill>
                  <a:srgbClr val="484848"/>
                </a:solidFill>
              </a:ln>
            </p:spPr>
            <p:txBody>
              <a:bodyPr rtlCol="0" anchor="ctr"/>
              <a:lstStyle/>
              <a:p>
                <a:pPr algn="ctr"/>
                <a:endParaRPr/>
              </a:p>
            </p:txBody>
          </p:sp>
          <p:sp>
            <p:nvSpPr>
              <p:cNvPr id="24" name="Rounded Rectangle 20">
                <a:extLst>
                  <a:ext uri="{FF2B5EF4-FFF2-40B4-BE49-F238E27FC236}">
                    <a16:creationId xmlns:a16="http://schemas.microsoft.com/office/drawing/2014/main" id="{5D6074FF-FDDF-CE9B-159B-A1053CD8F0C7}"/>
                  </a:ext>
                </a:extLst>
              </p:cNvPr>
              <p:cNvSpPr/>
              <p:nvPr/>
            </p:nvSpPr>
            <p:spPr>
              <a:xfrm>
                <a:off x="5266707" y="3297629"/>
                <a:ext cx="1389412" cy="855023"/>
              </a:xfrm>
              <a:custGeom>
                <a:avLst/>
                <a:gdLst/>
                <a:ahLst/>
                <a:cxnLst/>
                <a:rect l="0" t="0" r="0" b="0"/>
                <a:pathLst>
                  <a:path w="1389412" h="855023">
                    <a:moveTo>
                      <a:pt x="0" y="106877"/>
                    </a:moveTo>
                    <a:lnTo>
                      <a:pt x="0" y="53438"/>
                    </a:lnTo>
                    <a:cubicBezTo>
                      <a:pt x="0" y="23925"/>
                      <a:pt x="23925" y="0"/>
                      <a:pt x="53438" y="0"/>
                    </a:cubicBezTo>
                    <a:lnTo>
                      <a:pt x="106877" y="0"/>
                    </a:lnTo>
                    <a:moveTo>
                      <a:pt x="1389412" y="106877"/>
                    </a:moveTo>
                    <a:lnTo>
                      <a:pt x="1389412" y="748145"/>
                    </a:lnTo>
                    <a:moveTo>
                      <a:pt x="0" y="748145"/>
                    </a:moveTo>
                    <a:lnTo>
                      <a:pt x="0" y="106877"/>
                    </a:lnTo>
                    <a:moveTo>
                      <a:pt x="106877" y="0"/>
                    </a:moveTo>
                    <a:lnTo>
                      <a:pt x="1282535" y="0"/>
                    </a:lnTo>
                    <a:moveTo>
                      <a:pt x="0" y="748145"/>
                    </a:moveTo>
                    <a:lnTo>
                      <a:pt x="0" y="801584"/>
                    </a:lnTo>
                    <a:cubicBezTo>
                      <a:pt x="0" y="831097"/>
                      <a:pt x="23925" y="855023"/>
                      <a:pt x="53438" y="855023"/>
                    </a:cubicBezTo>
                    <a:lnTo>
                      <a:pt x="106877" y="855023"/>
                    </a:lnTo>
                    <a:moveTo>
                      <a:pt x="1389412" y="106877"/>
                    </a:moveTo>
                    <a:lnTo>
                      <a:pt x="1389412" y="53438"/>
                    </a:lnTo>
                    <a:cubicBezTo>
                      <a:pt x="1389412" y="23925"/>
                      <a:pt x="1365487" y="0"/>
                      <a:pt x="1335974" y="0"/>
                    </a:cubicBezTo>
                    <a:lnTo>
                      <a:pt x="1282535" y="0"/>
                    </a:lnTo>
                    <a:moveTo>
                      <a:pt x="1282535" y="855023"/>
                    </a:moveTo>
                    <a:lnTo>
                      <a:pt x="106877" y="855023"/>
                    </a:lnTo>
                    <a:moveTo>
                      <a:pt x="1389412" y="748145"/>
                    </a:moveTo>
                    <a:lnTo>
                      <a:pt x="1389412" y="801584"/>
                    </a:lnTo>
                    <a:cubicBezTo>
                      <a:pt x="1389412" y="831097"/>
                      <a:pt x="1365487" y="855023"/>
                      <a:pt x="1335974" y="855023"/>
                    </a:cubicBezTo>
                    <a:lnTo>
                      <a:pt x="1282535" y="855023"/>
                    </a:lnTo>
                  </a:path>
                </a:pathLst>
              </a:custGeom>
              <a:noFill/>
              <a:ln w="6679">
                <a:solidFill>
                  <a:srgbClr val="484848"/>
                </a:solidFill>
              </a:ln>
            </p:spPr>
            <p:txBody>
              <a:bodyPr rtlCol="0" anchor="ctr"/>
              <a:lstStyle/>
              <a:p>
                <a:pPr algn="ctr"/>
                <a:endParaRPr/>
              </a:p>
            </p:txBody>
          </p:sp>
          <p:sp>
            <p:nvSpPr>
              <p:cNvPr id="25" name="Rounded Rectangle 21">
                <a:extLst>
                  <a:ext uri="{FF2B5EF4-FFF2-40B4-BE49-F238E27FC236}">
                    <a16:creationId xmlns:a16="http://schemas.microsoft.com/office/drawing/2014/main" id="{161D8D79-EC00-BD23-08D2-5FD26EC0CD58}"/>
                  </a:ext>
                </a:extLst>
              </p:cNvPr>
              <p:cNvSpPr/>
              <p:nvPr/>
            </p:nvSpPr>
            <p:spPr>
              <a:xfrm>
                <a:off x="5266707" y="4259531"/>
                <a:ext cx="1389412" cy="748145"/>
              </a:xfrm>
              <a:custGeom>
                <a:avLst/>
                <a:gdLst/>
                <a:ahLst/>
                <a:cxnLst/>
                <a:rect l="0" t="0" r="0" b="0"/>
                <a:pathLst>
                  <a:path w="1389412" h="748145">
                    <a:moveTo>
                      <a:pt x="0" y="106877"/>
                    </a:moveTo>
                    <a:lnTo>
                      <a:pt x="0" y="53438"/>
                    </a:lnTo>
                    <a:cubicBezTo>
                      <a:pt x="0" y="23925"/>
                      <a:pt x="23925" y="0"/>
                      <a:pt x="53438" y="0"/>
                    </a:cubicBezTo>
                    <a:lnTo>
                      <a:pt x="106877" y="0"/>
                    </a:lnTo>
                    <a:moveTo>
                      <a:pt x="1389412" y="106877"/>
                    </a:moveTo>
                    <a:lnTo>
                      <a:pt x="1389412" y="641267"/>
                    </a:lnTo>
                    <a:moveTo>
                      <a:pt x="0" y="641267"/>
                    </a:moveTo>
                    <a:lnTo>
                      <a:pt x="0" y="106877"/>
                    </a:lnTo>
                    <a:moveTo>
                      <a:pt x="106877" y="0"/>
                    </a:moveTo>
                    <a:lnTo>
                      <a:pt x="1282535" y="0"/>
                    </a:lnTo>
                    <a:moveTo>
                      <a:pt x="0" y="641267"/>
                    </a:moveTo>
                    <a:lnTo>
                      <a:pt x="0" y="694706"/>
                    </a:lnTo>
                    <a:cubicBezTo>
                      <a:pt x="0" y="724219"/>
                      <a:pt x="23925" y="748145"/>
                      <a:pt x="53438" y="748145"/>
                    </a:cubicBezTo>
                    <a:lnTo>
                      <a:pt x="106877" y="748145"/>
                    </a:lnTo>
                    <a:moveTo>
                      <a:pt x="1389412" y="106877"/>
                    </a:moveTo>
                    <a:lnTo>
                      <a:pt x="1389412" y="53438"/>
                    </a:lnTo>
                    <a:cubicBezTo>
                      <a:pt x="1389412" y="23925"/>
                      <a:pt x="1365487" y="0"/>
                      <a:pt x="1335974" y="0"/>
                    </a:cubicBezTo>
                    <a:lnTo>
                      <a:pt x="1282535" y="0"/>
                    </a:lnTo>
                    <a:moveTo>
                      <a:pt x="1282535" y="748145"/>
                    </a:moveTo>
                    <a:lnTo>
                      <a:pt x="106877" y="748145"/>
                    </a:lnTo>
                    <a:moveTo>
                      <a:pt x="1389412" y="641267"/>
                    </a:moveTo>
                    <a:lnTo>
                      <a:pt x="1389412" y="694706"/>
                    </a:lnTo>
                    <a:cubicBezTo>
                      <a:pt x="1389412" y="724219"/>
                      <a:pt x="1365487" y="748145"/>
                      <a:pt x="1335974" y="748145"/>
                    </a:cubicBezTo>
                    <a:lnTo>
                      <a:pt x="1282535" y="748145"/>
                    </a:lnTo>
                  </a:path>
                </a:pathLst>
              </a:custGeom>
              <a:noFill/>
              <a:ln w="6679">
                <a:solidFill>
                  <a:srgbClr val="484848"/>
                </a:solidFill>
              </a:ln>
            </p:spPr>
            <p:txBody>
              <a:bodyPr rtlCol="0" anchor="ctr"/>
              <a:lstStyle/>
              <a:p>
                <a:pPr algn="ctr"/>
                <a:endParaRPr/>
              </a:p>
            </p:txBody>
          </p:sp>
          <p:sp>
            <p:nvSpPr>
              <p:cNvPr id="26" name="Rounded Rectangle 22">
                <a:extLst>
                  <a:ext uri="{FF2B5EF4-FFF2-40B4-BE49-F238E27FC236}">
                    <a16:creationId xmlns:a16="http://schemas.microsoft.com/office/drawing/2014/main" id="{BF090CE6-AA47-2B4B-2165-27FCA0C4F2A2}"/>
                  </a:ext>
                </a:extLst>
              </p:cNvPr>
              <p:cNvSpPr/>
              <p:nvPr/>
            </p:nvSpPr>
            <p:spPr>
              <a:xfrm>
                <a:off x="5266707" y="5114554"/>
                <a:ext cx="1389412" cy="748145"/>
              </a:xfrm>
              <a:custGeom>
                <a:avLst/>
                <a:gdLst/>
                <a:ahLst/>
                <a:cxnLst/>
                <a:rect l="0" t="0" r="0" b="0"/>
                <a:pathLst>
                  <a:path w="1389412" h="748145">
                    <a:moveTo>
                      <a:pt x="0" y="106877"/>
                    </a:moveTo>
                    <a:lnTo>
                      <a:pt x="0" y="53438"/>
                    </a:lnTo>
                    <a:cubicBezTo>
                      <a:pt x="0" y="23925"/>
                      <a:pt x="23925" y="0"/>
                      <a:pt x="53438" y="0"/>
                    </a:cubicBezTo>
                    <a:lnTo>
                      <a:pt x="106877" y="0"/>
                    </a:lnTo>
                    <a:moveTo>
                      <a:pt x="1389412" y="106877"/>
                    </a:moveTo>
                    <a:lnTo>
                      <a:pt x="1389412" y="641267"/>
                    </a:lnTo>
                    <a:moveTo>
                      <a:pt x="0" y="641267"/>
                    </a:moveTo>
                    <a:lnTo>
                      <a:pt x="0" y="106877"/>
                    </a:lnTo>
                    <a:moveTo>
                      <a:pt x="106877" y="0"/>
                    </a:moveTo>
                    <a:lnTo>
                      <a:pt x="1282535" y="0"/>
                    </a:lnTo>
                    <a:moveTo>
                      <a:pt x="0" y="641267"/>
                    </a:moveTo>
                    <a:lnTo>
                      <a:pt x="0" y="694706"/>
                    </a:lnTo>
                    <a:cubicBezTo>
                      <a:pt x="0" y="724219"/>
                      <a:pt x="23925" y="748145"/>
                      <a:pt x="53438" y="748145"/>
                    </a:cubicBezTo>
                    <a:lnTo>
                      <a:pt x="106877" y="748145"/>
                    </a:lnTo>
                    <a:moveTo>
                      <a:pt x="1389412" y="106877"/>
                    </a:moveTo>
                    <a:lnTo>
                      <a:pt x="1389412" y="53438"/>
                    </a:lnTo>
                    <a:cubicBezTo>
                      <a:pt x="1389412" y="23925"/>
                      <a:pt x="1365487" y="0"/>
                      <a:pt x="1335974" y="0"/>
                    </a:cubicBezTo>
                    <a:lnTo>
                      <a:pt x="1282535" y="0"/>
                    </a:lnTo>
                    <a:moveTo>
                      <a:pt x="1282535" y="748145"/>
                    </a:moveTo>
                    <a:lnTo>
                      <a:pt x="106877" y="748145"/>
                    </a:lnTo>
                    <a:moveTo>
                      <a:pt x="1389412" y="641267"/>
                    </a:moveTo>
                    <a:lnTo>
                      <a:pt x="1389412" y="694706"/>
                    </a:lnTo>
                    <a:cubicBezTo>
                      <a:pt x="1389412" y="724219"/>
                      <a:pt x="1365487" y="748145"/>
                      <a:pt x="1335974" y="748145"/>
                    </a:cubicBezTo>
                    <a:lnTo>
                      <a:pt x="1282535" y="748145"/>
                    </a:lnTo>
                  </a:path>
                </a:pathLst>
              </a:custGeom>
              <a:noFill/>
              <a:ln w="6679">
                <a:solidFill>
                  <a:srgbClr val="484848"/>
                </a:solidFill>
              </a:ln>
            </p:spPr>
            <p:txBody>
              <a:bodyPr rtlCol="0" anchor="ctr"/>
              <a:lstStyle/>
              <a:p>
                <a:pPr algn="ctr"/>
                <a:endParaRPr/>
              </a:p>
            </p:txBody>
          </p:sp>
          <p:sp>
            <p:nvSpPr>
              <p:cNvPr id="27" name="Rounded Rectangle 23">
                <a:extLst>
                  <a:ext uri="{FF2B5EF4-FFF2-40B4-BE49-F238E27FC236}">
                    <a16:creationId xmlns:a16="http://schemas.microsoft.com/office/drawing/2014/main" id="{3CF8DE88-B377-BF2B-059D-FE69D1F97510}"/>
                  </a:ext>
                </a:extLst>
              </p:cNvPr>
              <p:cNvSpPr/>
              <p:nvPr/>
            </p:nvSpPr>
            <p:spPr>
              <a:xfrm>
                <a:off x="6762998" y="1587583"/>
                <a:ext cx="1603168" cy="641267"/>
              </a:xfrm>
              <a:custGeom>
                <a:avLst/>
                <a:gdLst/>
                <a:ahLst/>
                <a:cxnLst/>
                <a:rect l="0" t="0" r="0" b="0"/>
                <a:pathLst>
                  <a:path w="1603168" h="641267">
                    <a:moveTo>
                      <a:pt x="1603168" y="587828"/>
                    </a:moveTo>
                    <a:cubicBezTo>
                      <a:pt x="1603168" y="617344"/>
                      <a:pt x="1579245" y="641267"/>
                      <a:pt x="1549729" y="641267"/>
                    </a:cubicBezTo>
                    <a:lnTo>
                      <a:pt x="1496290" y="641267"/>
                    </a:lnTo>
                    <a:lnTo>
                      <a:pt x="53438" y="641267"/>
                    </a:lnTo>
                    <a:cubicBezTo>
                      <a:pt x="23922" y="641267"/>
                      <a:pt x="0" y="617344"/>
                      <a:pt x="0" y="587828"/>
                    </a:cubicBezTo>
                    <a:lnTo>
                      <a:pt x="0" y="53438"/>
                    </a:lnTo>
                    <a:cubicBezTo>
                      <a:pt x="0" y="23922"/>
                      <a:pt x="23922" y="0"/>
                      <a:pt x="53438" y="0"/>
                    </a:cubicBezTo>
                    <a:lnTo>
                      <a:pt x="1549729" y="0"/>
                    </a:lnTo>
                    <a:cubicBezTo>
                      <a:pt x="1579245" y="0"/>
                      <a:pt x="1603168" y="23922"/>
                      <a:pt x="1603168" y="53438"/>
                    </a:cubicBezTo>
                    <a:lnTo>
                      <a:pt x="1603168" y="587828"/>
                    </a:lnTo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rtlCol="0" anchor="ctr"/>
              <a:lstStyle/>
              <a:p>
                <a:pPr algn="ctr"/>
                <a:endParaRPr/>
              </a:p>
            </p:txBody>
          </p:sp>
          <p:sp>
            <p:nvSpPr>
              <p:cNvPr id="28" name="Rounded Rectangle 24">
                <a:extLst>
                  <a:ext uri="{FF2B5EF4-FFF2-40B4-BE49-F238E27FC236}">
                    <a16:creationId xmlns:a16="http://schemas.microsoft.com/office/drawing/2014/main" id="{BD34D16E-B71E-B6E0-3704-9B84A9000DF0}"/>
                  </a:ext>
                </a:extLst>
              </p:cNvPr>
              <p:cNvSpPr/>
              <p:nvPr/>
            </p:nvSpPr>
            <p:spPr>
              <a:xfrm>
                <a:off x="6762998" y="1587583"/>
                <a:ext cx="1603168" cy="641267"/>
              </a:xfrm>
              <a:custGeom>
                <a:avLst/>
                <a:gdLst/>
                <a:ahLst/>
                <a:cxnLst/>
                <a:rect l="0" t="0" r="0" b="0"/>
                <a:pathLst>
                  <a:path w="1603168" h="641267">
                    <a:moveTo>
                      <a:pt x="0" y="106877"/>
                    </a:moveTo>
                    <a:lnTo>
                      <a:pt x="0" y="53438"/>
                    </a:lnTo>
                    <a:cubicBezTo>
                      <a:pt x="0" y="23925"/>
                      <a:pt x="23925" y="0"/>
                      <a:pt x="53438" y="0"/>
                    </a:cubicBezTo>
                    <a:lnTo>
                      <a:pt x="106877" y="0"/>
                    </a:lnTo>
                    <a:moveTo>
                      <a:pt x="1603168" y="106877"/>
                    </a:moveTo>
                    <a:lnTo>
                      <a:pt x="1603168" y="534389"/>
                    </a:lnTo>
                    <a:moveTo>
                      <a:pt x="0" y="534389"/>
                    </a:moveTo>
                    <a:lnTo>
                      <a:pt x="0" y="106877"/>
                    </a:lnTo>
                    <a:moveTo>
                      <a:pt x="106877" y="0"/>
                    </a:moveTo>
                    <a:lnTo>
                      <a:pt x="1496290" y="0"/>
                    </a:lnTo>
                    <a:moveTo>
                      <a:pt x="0" y="534389"/>
                    </a:moveTo>
                    <a:lnTo>
                      <a:pt x="0" y="587828"/>
                    </a:lnTo>
                    <a:cubicBezTo>
                      <a:pt x="0" y="617342"/>
                      <a:pt x="23925" y="641267"/>
                      <a:pt x="53438" y="641267"/>
                    </a:cubicBezTo>
                    <a:lnTo>
                      <a:pt x="106877" y="641267"/>
                    </a:lnTo>
                    <a:moveTo>
                      <a:pt x="1603168" y="106877"/>
                    </a:moveTo>
                    <a:lnTo>
                      <a:pt x="1603168" y="53438"/>
                    </a:lnTo>
                    <a:cubicBezTo>
                      <a:pt x="1603168" y="23925"/>
                      <a:pt x="1579243" y="0"/>
                      <a:pt x="1549729" y="0"/>
                    </a:cubicBezTo>
                    <a:lnTo>
                      <a:pt x="1496290" y="0"/>
                    </a:lnTo>
                    <a:moveTo>
                      <a:pt x="1496290" y="641267"/>
                    </a:moveTo>
                    <a:lnTo>
                      <a:pt x="106877" y="641267"/>
                    </a:lnTo>
                    <a:moveTo>
                      <a:pt x="1603168" y="534389"/>
                    </a:moveTo>
                    <a:lnTo>
                      <a:pt x="1603168" y="587828"/>
                    </a:lnTo>
                    <a:cubicBezTo>
                      <a:pt x="1603168" y="617342"/>
                      <a:pt x="1579243" y="641267"/>
                      <a:pt x="1549729" y="641267"/>
                    </a:cubicBezTo>
                    <a:lnTo>
                      <a:pt x="1496290" y="641267"/>
                    </a:lnTo>
                  </a:path>
                </a:pathLst>
              </a:custGeom>
              <a:noFill/>
              <a:ln w="6679">
                <a:solidFill>
                  <a:srgbClr val="484848"/>
                </a:solidFill>
              </a:ln>
            </p:spPr>
            <p:txBody>
              <a:bodyPr rtlCol="0" anchor="ctr"/>
              <a:lstStyle/>
              <a:p>
                <a:pPr algn="ctr"/>
                <a:endParaRPr/>
              </a:p>
            </p:txBody>
          </p:sp>
          <p:sp>
            <p:nvSpPr>
              <p:cNvPr id="29" name="Rounded Rectangle 25">
                <a:extLst>
                  <a:ext uri="{FF2B5EF4-FFF2-40B4-BE49-F238E27FC236}">
                    <a16:creationId xmlns:a16="http://schemas.microsoft.com/office/drawing/2014/main" id="{CC887E1B-CEEB-20AD-D70B-73B859CCFC6D}"/>
                  </a:ext>
                </a:extLst>
              </p:cNvPr>
              <p:cNvSpPr/>
              <p:nvPr/>
            </p:nvSpPr>
            <p:spPr>
              <a:xfrm>
                <a:off x="6762998" y="2335728"/>
                <a:ext cx="1603168" cy="855023"/>
              </a:xfrm>
              <a:custGeom>
                <a:avLst/>
                <a:gdLst/>
                <a:ahLst/>
                <a:cxnLst/>
                <a:rect l="0" t="0" r="0" b="0"/>
                <a:pathLst>
                  <a:path w="1603168" h="855023">
                    <a:moveTo>
                      <a:pt x="0" y="106877"/>
                    </a:moveTo>
                    <a:lnTo>
                      <a:pt x="0" y="53438"/>
                    </a:lnTo>
                    <a:cubicBezTo>
                      <a:pt x="0" y="23925"/>
                      <a:pt x="23925" y="0"/>
                      <a:pt x="53438" y="0"/>
                    </a:cubicBezTo>
                    <a:lnTo>
                      <a:pt x="106877" y="0"/>
                    </a:lnTo>
                    <a:moveTo>
                      <a:pt x="1603168" y="106877"/>
                    </a:moveTo>
                    <a:lnTo>
                      <a:pt x="1603168" y="748145"/>
                    </a:lnTo>
                    <a:moveTo>
                      <a:pt x="0" y="748145"/>
                    </a:moveTo>
                    <a:lnTo>
                      <a:pt x="0" y="106877"/>
                    </a:lnTo>
                    <a:moveTo>
                      <a:pt x="106877" y="0"/>
                    </a:moveTo>
                    <a:lnTo>
                      <a:pt x="1496290" y="0"/>
                    </a:lnTo>
                    <a:moveTo>
                      <a:pt x="0" y="748145"/>
                    </a:moveTo>
                    <a:lnTo>
                      <a:pt x="0" y="801584"/>
                    </a:lnTo>
                    <a:cubicBezTo>
                      <a:pt x="0" y="831097"/>
                      <a:pt x="23925" y="855023"/>
                      <a:pt x="53438" y="855023"/>
                    </a:cubicBezTo>
                    <a:lnTo>
                      <a:pt x="106877" y="855023"/>
                    </a:lnTo>
                    <a:moveTo>
                      <a:pt x="1603168" y="106877"/>
                    </a:moveTo>
                    <a:lnTo>
                      <a:pt x="1603168" y="53438"/>
                    </a:lnTo>
                    <a:cubicBezTo>
                      <a:pt x="1603168" y="23925"/>
                      <a:pt x="1579243" y="0"/>
                      <a:pt x="1549729" y="0"/>
                    </a:cubicBezTo>
                    <a:lnTo>
                      <a:pt x="1496290" y="0"/>
                    </a:lnTo>
                    <a:moveTo>
                      <a:pt x="1496290" y="855023"/>
                    </a:moveTo>
                    <a:lnTo>
                      <a:pt x="106877" y="855023"/>
                    </a:lnTo>
                    <a:moveTo>
                      <a:pt x="1603168" y="748145"/>
                    </a:moveTo>
                    <a:lnTo>
                      <a:pt x="1603168" y="801584"/>
                    </a:lnTo>
                    <a:cubicBezTo>
                      <a:pt x="1603168" y="831097"/>
                      <a:pt x="1579243" y="855023"/>
                      <a:pt x="1549729" y="855023"/>
                    </a:cubicBezTo>
                    <a:lnTo>
                      <a:pt x="1496290" y="855023"/>
                    </a:lnTo>
                  </a:path>
                </a:pathLst>
              </a:custGeom>
              <a:noFill/>
              <a:ln w="6679">
                <a:solidFill>
                  <a:srgbClr val="484848"/>
                </a:solidFill>
              </a:ln>
            </p:spPr>
            <p:txBody>
              <a:bodyPr rtlCol="0" anchor="ctr"/>
              <a:lstStyle/>
              <a:p>
                <a:pPr algn="ctr"/>
                <a:endParaRPr/>
              </a:p>
            </p:txBody>
          </p:sp>
          <p:sp>
            <p:nvSpPr>
              <p:cNvPr id="30" name="Rounded Rectangle 26">
                <a:extLst>
                  <a:ext uri="{FF2B5EF4-FFF2-40B4-BE49-F238E27FC236}">
                    <a16:creationId xmlns:a16="http://schemas.microsoft.com/office/drawing/2014/main" id="{FF14A039-FA23-6C18-95E0-752E7B82A7F3}"/>
                  </a:ext>
                </a:extLst>
              </p:cNvPr>
              <p:cNvSpPr/>
              <p:nvPr/>
            </p:nvSpPr>
            <p:spPr>
              <a:xfrm>
                <a:off x="6762998" y="3297629"/>
                <a:ext cx="1603168" cy="855023"/>
              </a:xfrm>
              <a:custGeom>
                <a:avLst/>
                <a:gdLst/>
                <a:ahLst/>
                <a:cxnLst/>
                <a:rect l="0" t="0" r="0" b="0"/>
                <a:pathLst>
                  <a:path w="1603168" h="855023">
                    <a:moveTo>
                      <a:pt x="0" y="106877"/>
                    </a:moveTo>
                    <a:lnTo>
                      <a:pt x="0" y="53438"/>
                    </a:lnTo>
                    <a:cubicBezTo>
                      <a:pt x="0" y="23925"/>
                      <a:pt x="23925" y="0"/>
                      <a:pt x="53438" y="0"/>
                    </a:cubicBezTo>
                    <a:lnTo>
                      <a:pt x="106877" y="0"/>
                    </a:lnTo>
                    <a:moveTo>
                      <a:pt x="1603168" y="106877"/>
                    </a:moveTo>
                    <a:lnTo>
                      <a:pt x="1603168" y="748145"/>
                    </a:lnTo>
                    <a:moveTo>
                      <a:pt x="0" y="748145"/>
                    </a:moveTo>
                    <a:lnTo>
                      <a:pt x="0" y="106877"/>
                    </a:lnTo>
                    <a:moveTo>
                      <a:pt x="106877" y="0"/>
                    </a:moveTo>
                    <a:lnTo>
                      <a:pt x="1496290" y="0"/>
                    </a:lnTo>
                    <a:moveTo>
                      <a:pt x="0" y="748145"/>
                    </a:moveTo>
                    <a:lnTo>
                      <a:pt x="0" y="801584"/>
                    </a:lnTo>
                    <a:cubicBezTo>
                      <a:pt x="0" y="831097"/>
                      <a:pt x="23925" y="855023"/>
                      <a:pt x="53438" y="855023"/>
                    </a:cubicBezTo>
                    <a:lnTo>
                      <a:pt x="106877" y="855023"/>
                    </a:lnTo>
                    <a:moveTo>
                      <a:pt x="1603168" y="106877"/>
                    </a:moveTo>
                    <a:lnTo>
                      <a:pt x="1603168" y="53438"/>
                    </a:lnTo>
                    <a:cubicBezTo>
                      <a:pt x="1603168" y="23925"/>
                      <a:pt x="1579243" y="0"/>
                      <a:pt x="1549729" y="0"/>
                    </a:cubicBezTo>
                    <a:lnTo>
                      <a:pt x="1496290" y="0"/>
                    </a:lnTo>
                    <a:moveTo>
                      <a:pt x="1496290" y="855023"/>
                    </a:moveTo>
                    <a:lnTo>
                      <a:pt x="106877" y="855023"/>
                    </a:lnTo>
                    <a:moveTo>
                      <a:pt x="1603168" y="748145"/>
                    </a:moveTo>
                    <a:lnTo>
                      <a:pt x="1603168" y="801584"/>
                    </a:lnTo>
                    <a:cubicBezTo>
                      <a:pt x="1603168" y="831097"/>
                      <a:pt x="1579243" y="855023"/>
                      <a:pt x="1549729" y="855023"/>
                    </a:cubicBezTo>
                    <a:lnTo>
                      <a:pt x="1496290" y="855023"/>
                    </a:lnTo>
                  </a:path>
                </a:pathLst>
              </a:custGeom>
              <a:noFill/>
              <a:ln w="6679">
                <a:solidFill>
                  <a:srgbClr val="484848"/>
                </a:solidFill>
              </a:ln>
            </p:spPr>
            <p:txBody>
              <a:bodyPr rtlCol="0" anchor="ctr"/>
              <a:lstStyle/>
              <a:p>
                <a:pPr algn="ctr"/>
                <a:endParaRPr/>
              </a:p>
            </p:txBody>
          </p:sp>
          <p:sp>
            <p:nvSpPr>
              <p:cNvPr id="31" name="Rounded Rectangle 27">
                <a:extLst>
                  <a:ext uri="{FF2B5EF4-FFF2-40B4-BE49-F238E27FC236}">
                    <a16:creationId xmlns:a16="http://schemas.microsoft.com/office/drawing/2014/main" id="{7DE8EEDA-7E00-92B6-C6DF-A1EA5BA0A98C}"/>
                  </a:ext>
                </a:extLst>
              </p:cNvPr>
              <p:cNvSpPr/>
              <p:nvPr/>
            </p:nvSpPr>
            <p:spPr>
              <a:xfrm>
                <a:off x="6762998" y="4259531"/>
                <a:ext cx="1603168" cy="748145"/>
              </a:xfrm>
              <a:custGeom>
                <a:avLst/>
                <a:gdLst/>
                <a:ahLst/>
                <a:cxnLst/>
                <a:rect l="0" t="0" r="0" b="0"/>
                <a:pathLst>
                  <a:path w="1603168" h="748145">
                    <a:moveTo>
                      <a:pt x="0" y="106877"/>
                    </a:moveTo>
                    <a:lnTo>
                      <a:pt x="0" y="53438"/>
                    </a:lnTo>
                    <a:cubicBezTo>
                      <a:pt x="0" y="23925"/>
                      <a:pt x="23925" y="0"/>
                      <a:pt x="53438" y="0"/>
                    </a:cubicBezTo>
                    <a:lnTo>
                      <a:pt x="106877" y="0"/>
                    </a:lnTo>
                    <a:moveTo>
                      <a:pt x="1603168" y="106877"/>
                    </a:moveTo>
                    <a:lnTo>
                      <a:pt x="1603168" y="641267"/>
                    </a:lnTo>
                    <a:moveTo>
                      <a:pt x="0" y="641267"/>
                    </a:moveTo>
                    <a:lnTo>
                      <a:pt x="0" y="106877"/>
                    </a:lnTo>
                    <a:moveTo>
                      <a:pt x="106877" y="0"/>
                    </a:moveTo>
                    <a:lnTo>
                      <a:pt x="1496290" y="0"/>
                    </a:lnTo>
                    <a:moveTo>
                      <a:pt x="0" y="641267"/>
                    </a:moveTo>
                    <a:lnTo>
                      <a:pt x="0" y="694706"/>
                    </a:lnTo>
                    <a:cubicBezTo>
                      <a:pt x="0" y="724219"/>
                      <a:pt x="23925" y="748145"/>
                      <a:pt x="53438" y="748145"/>
                    </a:cubicBezTo>
                    <a:lnTo>
                      <a:pt x="106877" y="748145"/>
                    </a:lnTo>
                    <a:moveTo>
                      <a:pt x="1603168" y="106877"/>
                    </a:moveTo>
                    <a:lnTo>
                      <a:pt x="1603168" y="53438"/>
                    </a:lnTo>
                    <a:cubicBezTo>
                      <a:pt x="1603168" y="23925"/>
                      <a:pt x="1579243" y="0"/>
                      <a:pt x="1549729" y="0"/>
                    </a:cubicBezTo>
                    <a:lnTo>
                      <a:pt x="1496290" y="0"/>
                    </a:lnTo>
                    <a:moveTo>
                      <a:pt x="1496290" y="748145"/>
                    </a:moveTo>
                    <a:lnTo>
                      <a:pt x="106877" y="748145"/>
                    </a:lnTo>
                    <a:moveTo>
                      <a:pt x="1603168" y="641267"/>
                    </a:moveTo>
                    <a:lnTo>
                      <a:pt x="1603168" y="694706"/>
                    </a:lnTo>
                    <a:cubicBezTo>
                      <a:pt x="1603168" y="724219"/>
                      <a:pt x="1579243" y="748145"/>
                      <a:pt x="1549729" y="748145"/>
                    </a:cubicBezTo>
                    <a:lnTo>
                      <a:pt x="1496290" y="748145"/>
                    </a:lnTo>
                  </a:path>
                </a:pathLst>
              </a:custGeom>
              <a:noFill/>
              <a:ln w="6679">
                <a:solidFill>
                  <a:srgbClr val="484848"/>
                </a:solidFill>
              </a:ln>
            </p:spPr>
            <p:txBody>
              <a:bodyPr rtlCol="0" anchor="ctr"/>
              <a:lstStyle/>
              <a:p>
                <a:pPr algn="ctr"/>
                <a:endParaRPr/>
              </a:p>
            </p:txBody>
          </p:sp>
          <p:sp>
            <p:nvSpPr>
              <p:cNvPr id="32" name="Rounded Rectangle 28">
                <a:extLst>
                  <a:ext uri="{FF2B5EF4-FFF2-40B4-BE49-F238E27FC236}">
                    <a16:creationId xmlns:a16="http://schemas.microsoft.com/office/drawing/2014/main" id="{15904278-B6D2-88BC-0B38-4544BA99E3DC}"/>
                  </a:ext>
                </a:extLst>
              </p:cNvPr>
              <p:cNvSpPr/>
              <p:nvPr/>
            </p:nvSpPr>
            <p:spPr>
              <a:xfrm>
                <a:off x="6762998" y="5114554"/>
                <a:ext cx="1603168" cy="748145"/>
              </a:xfrm>
              <a:custGeom>
                <a:avLst/>
                <a:gdLst/>
                <a:ahLst/>
                <a:cxnLst/>
                <a:rect l="0" t="0" r="0" b="0"/>
                <a:pathLst>
                  <a:path w="1603168" h="748145">
                    <a:moveTo>
                      <a:pt x="0" y="106877"/>
                    </a:moveTo>
                    <a:lnTo>
                      <a:pt x="0" y="53438"/>
                    </a:lnTo>
                    <a:cubicBezTo>
                      <a:pt x="0" y="23925"/>
                      <a:pt x="23925" y="0"/>
                      <a:pt x="53438" y="0"/>
                    </a:cubicBezTo>
                    <a:lnTo>
                      <a:pt x="106877" y="0"/>
                    </a:lnTo>
                    <a:moveTo>
                      <a:pt x="1603168" y="106877"/>
                    </a:moveTo>
                    <a:lnTo>
                      <a:pt x="1603168" y="641267"/>
                    </a:lnTo>
                    <a:moveTo>
                      <a:pt x="0" y="641267"/>
                    </a:moveTo>
                    <a:lnTo>
                      <a:pt x="0" y="106877"/>
                    </a:lnTo>
                    <a:moveTo>
                      <a:pt x="106877" y="0"/>
                    </a:moveTo>
                    <a:lnTo>
                      <a:pt x="1496290" y="0"/>
                    </a:lnTo>
                    <a:moveTo>
                      <a:pt x="0" y="641267"/>
                    </a:moveTo>
                    <a:lnTo>
                      <a:pt x="0" y="694706"/>
                    </a:lnTo>
                    <a:cubicBezTo>
                      <a:pt x="0" y="724219"/>
                      <a:pt x="23925" y="748145"/>
                      <a:pt x="53438" y="748145"/>
                    </a:cubicBezTo>
                    <a:lnTo>
                      <a:pt x="106877" y="748145"/>
                    </a:lnTo>
                    <a:moveTo>
                      <a:pt x="1603168" y="106877"/>
                    </a:moveTo>
                    <a:lnTo>
                      <a:pt x="1603168" y="53438"/>
                    </a:lnTo>
                    <a:cubicBezTo>
                      <a:pt x="1603168" y="23925"/>
                      <a:pt x="1579243" y="0"/>
                      <a:pt x="1549729" y="0"/>
                    </a:cubicBezTo>
                    <a:lnTo>
                      <a:pt x="1496290" y="0"/>
                    </a:lnTo>
                    <a:moveTo>
                      <a:pt x="1496290" y="748145"/>
                    </a:moveTo>
                    <a:lnTo>
                      <a:pt x="106877" y="748145"/>
                    </a:lnTo>
                    <a:moveTo>
                      <a:pt x="1603168" y="641267"/>
                    </a:moveTo>
                    <a:lnTo>
                      <a:pt x="1603168" y="694706"/>
                    </a:lnTo>
                    <a:cubicBezTo>
                      <a:pt x="1603168" y="724219"/>
                      <a:pt x="1579243" y="748145"/>
                      <a:pt x="1549729" y="748145"/>
                    </a:cubicBezTo>
                    <a:lnTo>
                      <a:pt x="1496290" y="748145"/>
                    </a:lnTo>
                  </a:path>
                </a:pathLst>
              </a:custGeom>
              <a:noFill/>
              <a:ln w="6679">
                <a:solidFill>
                  <a:srgbClr val="484848"/>
                </a:solidFill>
              </a:ln>
            </p:spPr>
            <p:txBody>
              <a:bodyPr rtlCol="0" anchor="ctr"/>
              <a:lstStyle/>
              <a:p>
                <a:pPr algn="ctr"/>
                <a:endParaRPr/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5C3AE591-5B20-F5BE-005E-A2C24CBE7379}"/>
                  </a:ext>
                </a:extLst>
              </p:cNvPr>
              <p:cNvSpPr txBox="1"/>
              <p:nvPr/>
            </p:nvSpPr>
            <p:spPr>
              <a:xfrm>
                <a:off x="908047" y="1819152"/>
                <a:ext cx="701386" cy="26185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anchor="t">
                <a:spAutoFit/>
              </a:bodyPr>
              <a:lstStyle/>
              <a:p>
                <a:pPr algn="ctr"/>
                <a:r>
                  <a:rPr sz="1300" b="1" dirty="0">
                    <a:solidFill>
                      <a:srgbClr val="484848"/>
                    </a:solidFill>
                    <a:latin typeface="Roboto"/>
                  </a:rPr>
                  <a:t>Platform</a:t>
                </a: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F2EAEE70-DCAD-4BAB-5282-B5461AFE6831}"/>
                  </a:ext>
                </a:extLst>
              </p:cNvPr>
              <p:cNvSpPr txBox="1"/>
              <p:nvPr/>
            </p:nvSpPr>
            <p:spPr>
              <a:xfrm>
                <a:off x="902525" y="3636076"/>
                <a:ext cx="2360915" cy="26185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anchor="t">
                <a:spAutoFit/>
              </a:bodyPr>
              <a:lstStyle/>
              <a:p>
                <a:pPr algn="l"/>
                <a:r>
                  <a:rPr sz="1300" b="1" dirty="0">
                    <a:solidFill>
                      <a:srgbClr val="484848"/>
                    </a:solidFill>
                    <a:latin typeface="Roboto"/>
                  </a:rPr>
                  <a:t>Databricks with Unity Catalog</a:t>
                </a: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0D8F56FF-D81C-2456-44E2-036B25CB38DF}"/>
                  </a:ext>
                </a:extLst>
              </p:cNvPr>
              <p:cNvSpPr txBox="1"/>
              <p:nvPr/>
            </p:nvSpPr>
            <p:spPr>
              <a:xfrm>
                <a:off x="3870436" y="3417867"/>
                <a:ext cx="975679" cy="74814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anchor="t">
                <a:spAutoFit/>
              </a:bodyPr>
              <a:lstStyle/>
              <a:p>
                <a:pPr algn="ctr"/>
                <a:r>
                  <a:rPr sz="1000" b="0">
                    <a:solidFill>
                      <a:srgbClr val="484848"/>
                    </a:solidFill>
                    <a:latin typeface="Roboto"/>
                  </a:rPr>
                  <a:t>Auto-detects
environment for
optimized data
operations</a:t>
                </a:r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C93C1B17-479A-07DE-6EE9-7865D4AB1678}"/>
                  </a:ext>
                </a:extLst>
              </p:cNvPr>
              <p:cNvSpPr txBox="1"/>
              <p:nvPr/>
            </p:nvSpPr>
            <p:spPr>
              <a:xfrm>
                <a:off x="5609251" y="3658342"/>
                <a:ext cx="704307" cy="18703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anchor="t">
                <a:spAutoFit/>
              </a:bodyPr>
              <a:lstStyle/>
              <a:p>
                <a:pPr algn="ctr"/>
                <a:r>
                  <a:rPr sz="1000" b="0">
                    <a:solidFill>
                      <a:srgbClr val="484848"/>
                    </a:solidFill>
                    <a:latin typeface="Roboto"/>
                  </a:rPr>
                  <a:t>Delta tables</a:t>
                </a: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56B75391-C820-D319-F3D8-65C5F4C73438}"/>
                  </a:ext>
                </a:extLst>
              </p:cNvPr>
              <p:cNvSpPr txBox="1"/>
              <p:nvPr/>
            </p:nvSpPr>
            <p:spPr>
              <a:xfrm>
                <a:off x="6936942" y="3498026"/>
                <a:ext cx="1255263" cy="56110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anchor="t">
                <a:spAutoFit/>
              </a:bodyPr>
              <a:lstStyle/>
              <a:p>
                <a:pPr algn="ctr"/>
                <a:r>
                  <a:rPr sz="1000" b="0">
                    <a:solidFill>
                      <a:srgbClr val="484848"/>
                    </a:solidFill>
                    <a:latin typeface="Roboto"/>
                  </a:rPr>
                  <a:t>Platform-neutral
deployment enabling
flexible workflows</a:t>
                </a: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32661588-73FA-0046-5595-CFCA9E8617FA}"/>
                  </a:ext>
                </a:extLst>
              </p:cNvPr>
              <p:cNvSpPr txBox="1"/>
              <p:nvPr/>
            </p:nvSpPr>
            <p:spPr>
              <a:xfrm>
                <a:off x="7047382" y="5261511"/>
                <a:ext cx="1034409" cy="56110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anchor="t">
                <a:spAutoFit/>
              </a:bodyPr>
              <a:lstStyle/>
              <a:p>
                <a:pPr algn="ctr"/>
                <a:r>
                  <a:rPr sz="1000" b="0">
                    <a:solidFill>
                      <a:srgbClr val="484848"/>
                    </a:solidFill>
                    <a:latin typeface="Roboto"/>
                  </a:rPr>
                  <a:t>Supports diverse
organizational
infrastructures</a:t>
                </a: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58BE92BE-2518-05F8-B201-9A6C575D5DC9}"/>
                  </a:ext>
                </a:extLst>
              </p:cNvPr>
              <p:cNvSpPr txBox="1"/>
              <p:nvPr/>
            </p:nvSpPr>
            <p:spPr>
              <a:xfrm>
                <a:off x="6979604" y="2536124"/>
                <a:ext cx="1169948" cy="56110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anchor="t">
                <a:spAutoFit/>
              </a:bodyPr>
              <a:lstStyle/>
              <a:p>
                <a:pPr algn="ctr"/>
                <a:r>
                  <a:rPr sz="1000" b="0">
                    <a:solidFill>
                      <a:srgbClr val="484848"/>
                    </a:solidFill>
                    <a:latin typeface="Roboto"/>
                  </a:rPr>
                  <a:t>Smooth integration
into existing CI/CD
pipelines</a:t>
                </a:r>
              </a:p>
            </p:txBody>
          </p: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4C0252A9-A199-71DB-04A6-12D694953AB4}"/>
                  </a:ext>
                </a:extLst>
              </p:cNvPr>
              <p:cNvSpPr txBox="1"/>
              <p:nvPr/>
            </p:nvSpPr>
            <p:spPr>
              <a:xfrm>
                <a:off x="5581106" y="2696441"/>
                <a:ext cx="760534" cy="18703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anchor="t">
                <a:spAutoFit/>
              </a:bodyPr>
              <a:lstStyle/>
              <a:p>
                <a:pPr algn="ctr"/>
                <a:r>
                  <a:rPr sz="1000" b="0">
                    <a:solidFill>
                      <a:srgbClr val="484848"/>
                    </a:solidFill>
                    <a:latin typeface="Roboto"/>
                  </a:rPr>
                  <a:t>CSV, Parquet</a:t>
                </a: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1B39A15B-DFE3-F0C8-75A1-11E59218E6A5}"/>
                  </a:ext>
                </a:extLst>
              </p:cNvPr>
              <p:cNvSpPr txBox="1"/>
              <p:nvPr/>
            </p:nvSpPr>
            <p:spPr>
              <a:xfrm>
                <a:off x="902525" y="4544539"/>
                <a:ext cx="1098420" cy="26185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anchor="t">
                <a:spAutoFit/>
              </a:bodyPr>
              <a:lstStyle/>
              <a:p>
                <a:pPr algn="l"/>
                <a:r>
                  <a:rPr sz="1300" b="1">
                    <a:solidFill>
                      <a:srgbClr val="484848"/>
                    </a:solidFill>
                    <a:latin typeface="Roboto"/>
                  </a:rPr>
                  <a:t>AWS Redshift</a:t>
                </a:r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4E554C64-7AE7-715D-3F47-D30D429DF65C}"/>
                  </a:ext>
                </a:extLst>
              </p:cNvPr>
              <p:cNvSpPr txBox="1"/>
              <p:nvPr/>
            </p:nvSpPr>
            <p:spPr>
              <a:xfrm>
                <a:off x="3769614" y="4486646"/>
                <a:ext cx="1177189" cy="37407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anchor="t">
                <a:spAutoFit/>
              </a:bodyPr>
              <a:lstStyle/>
              <a:p>
                <a:pPr algn="ctr"/>
                <a:r>
                  <a:rPr sz="1000" b="0">
                    <a:solidFill>
                      <a:srgbClr val="484848"/>
                    </a:solidFill>
                    <a:latin typeface="Roboto"/>
                  </a:rPr>
                  <a:t>Environment-aware
I/O management</a:t>
                </a:r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693437A9-8450-D678-6322-D941413C47F6}"/>
                  </a:ext>
                </a:extLst>
              </p:cNvPr>
              <p:cNvSpPr txBox="1"/>
              <p:nvPr/>
            </p:nvSpPr>
            <p:spPr>
              <a:xfrm>
                <a:off x="5684422" y="4566805"/>
                <a:ext cx="554010" cy="18703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anchor="t">
                <a:spAutoFit/>
              </a:bodyPr>
              <a:lstStyle/>
              <a:p>
                <a:pPr algn="ctr"/>
                <a:r>
                  <a:rPr sz="1000" b="0">
                    <a:solidFill>
                      <a:srgbClr val="484848"/>
                    </a:solidFill>
                    <a:latin typeface="Roboto"/>
                  </a:rPr>
                  <a:t>SQL, CSV</a:t>
                </a:r>
              </a:p>
            </p:txBody>
          </p: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EFEA1951-D1AA-BDE4-E01E-D1F446972CE8}"/>
                  </a:ext>
                </a:extLst>
              </p:cNvPr>
              <p:cNvSpPr txBox="1"/>
              <p:nvPr/>
            </p:nvSpPr>
            <p:spPr>
              <a:xfrm>
                <a:off x="7055042" y="4406488"/>
                <a:ext cx="1019098" cy="56110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anchor="t">
                <a:spAutoFit/>
              </a:bodyPr>
              <a:lstStyle/>
              <a:p>
                <a:pPr algn="ctr"/>
                <a:r>
                  <a:rPr sz="1000" b="0">
                    <a:solidFill>
                      <a:srgbClr val="484848"/>
                    </a:solidFill>
                    <a:latin typeface="Roboto"/>
                  </a:rPr>
                  <a:t>Easy integration
without platform
lock-in</a:t>
                </a: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CE53FA30-C171-9F5A-6160-938E3B0DA9C5}"/>
                  </a:ext>
                </a:extLst>
              </p:cNvPr>
              <p:cNvSpPr txBox="1"/>
              <p:nvPr/>
            </p:nvSpPr>
            <p:spPr>
              <a:xfrm>
                <a:off x="7104473" y="1712274"/>
                <a:ext cx="920156" cy="52370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anchor="t">
                <a:spAutoFit/>
              </a:bodyPr>
              <a:lstStyle/>
              <a:p>
                <a:pPr algn="ctr"/>
                <a:r>
                  <a:rPr sz="1300" b="1" dirty="0">
                    <a:solidFill>
                      <a:srgbClr val="484848"/>
                    </a:solidFill>
                    <a:latin typeface="Roboto"/>
                  </a:rPr>
                  <a:t>Integration
Mode</a:t>
                </a:r>
              </a:p>
            </p:txBody>
          </p:sp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A3AAC2D6-5732-C698-2969-243CB5273E2D}"/>
                  </a:ext>
                </a:extLst>
              </p:cNvPr>
              <p:cNvSpPr txBox="1"/>
              <p:nvPr/>
            </p:nvSpPr>
            <p:spPr>
              <a:xfrm>
                <a:off x="3780028" y="2442605"/>
                <a:ext cx="1061547" cy="74814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anchor="t">
                <a:spAutoFit/>
              </a:bodyPr>
              <a:lstStyle/>
              <a:p>
                <a:pPr algn="ctr"/>
                <a:r>
                  <a:rPr sz="1000" b="0" dirty="0">
                    <a:solidFill>
                      <a:srgbClr val="484848"/>
                    </a:solidFill>
                    <a:latin typeface="Roboto"/>
                  </a:rPr>
                  <a:t>Automated
environment
detection and I/O
handling</a:t>
                </a:r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A92E898A-C8D9-72E5-F09A-39FEA75CF394}"/>
                  </a:ext>
                </a:extLst>
              </p:cNvPr>
              <p:cNvSpPr txBox="1"/>
              <p:nvPr/>
            </p:nvSpPr>
            <p:spPr>
              <a:xfrm>
                <a:off x="902525" y="2674175"/>
                <a:ext cx="1169671" cy="26185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anchor="t">
                <a:spAutoFit/>
              </a:bodyPr>
              <a:lstStyle/>
              <a:p>
                <a:pPr algn="l"/>
                <a:r>
                  <a:rPr sz="1300" b="1">
                    <a:solidFill>
                      <a:srgbClr val="484848"/>
                    </a:solidFill>
                    <a:latin typeface="Roboto"/>
                  </a:rPr>
                  <a:t>Local Systems</a:t>
                </a:r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E5A7E895-8E1A-778E-24D9-4F4325A2D288}"/>
                  </a:ext>
                </a:extLst>
              </p:cNvPr>
              <p:cNvSpPr txBox="1"/>
              <p:nvPr/>
            </p:nvSpPr>
            <p:spPr>
              <a:xfrm>
                <a:off x="902525" y="5399562"/>
                <a:ext cx="2368432" cy="26185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anchor="t">
                <a:spAutoFit/>
              </a:bodyPr>
              <a:lstStyle/>
              <a:p>
                <a:pPr algn="l"/>
                <a:r>
                  <a:rPr sz="1300" b="1">
                    <a:solidFill>
                      <a:srgbClr val="484848"/>
                    </a:solidFill>
                    <a:latin typeface="Roboto"/>
                  </a:rPr>
                  <a:t>On-premises &amp; Custom Cloud</a:t>
                </a:r>
              </a:p>
            </p:txBody>
          </p:sp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4F7830D2-D08F-2481-099D-24E4DA1E4E1E}"/>
                  </a:ext>
                </a:extLst>
              </p:cNvPr>
              <p:cNvSpPr txBox="1"/>
              <p:nvPr/>
            </p:nvSpPr>
            <p:spPr>
              <a:xfrm>
                <a:off x="3729892" y="5261511"/>
                <a:ext cx="1256786" cy="56110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anchor="t">
                <a:spAutoFit/>
              </a:bodyPr>
              <a:lstStyle/>
              <a:p>
                <a:pPr algn="ctr"/>
                <a:r>
                  <a:rPr sz="1000" b="0">
                    <a:solidFill>
                      <a:srgbClr val="484848"/>
                    </a:solidFill>
                    <a:latin typeface="Roboto"/>
                  </a:rPr>
                  <a:t>Custom environment
detection and
adaptable handling</a:t>
                </a:r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ADB25D23-C7C0-F765-6ACD-B4090DD81DC6}"/>
                  </a:ext>
                </a:extLst>
              </p:cNvPr>
              <p:cNvSpPr txBox="1"/>
              <p:nvPr/>
            </p:nvSpPr>
            <p:spPr>
              <a:xfrm>
                <a:off x="5429785" y="5421828"/>
                <a:ext cx="1063212" cy="18703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anchor="t">
                <a:spAutoFit/>
              </a:bodyPr>
              <a:lstStyle/>
              <a:p>
                <a:pPr algn="ctr"/>
                <a:r>
                  <a:rPr sz="1000" b="0">
                    <a:solidFill>
                      <a:srgbClr val="484848"/>
                    </a:solidFill>
                    <a:latin typeface="Roboto"/>
                  </a:rPr>
                  <a:t>CSV, Parquet, SQL</a:t>
                </a:r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9CB4AE1B-6CAF-1103-3D55-BE3FF52267EA}"/>
                  </a:ext>
                </a:extLst>
              </p:cNvPr>
              <p:cNvSpPr txBox="1"/>
              <p:nvPr/>
            </p:nvSpPr>
            <p:spPr>
              <a:xfrm>
                <a:off x="3823499" y="1819152"/>
                <a:ext cx="1069473" cy="26185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anchor="t">
                <a:spAutoFit/>
              </a:bodyPr>
              <a:lstStyle/>
              <a:p>
                <a:pPr algn="ctr"/>
                <a:r>
                  <a:rPr sz="1300" b="1">
                    <a:solidFill>
                      <a:srgbClr val="484848"/>
                    </a:solidFill>
                    <a:latin typeface="Roboto"/>
                  </a:rPr>
                  <a:t>Support Type</a:t>
                </a:r>
              </a:p>
            </p:txBody>
          </p:sp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444E4508-6316-5358-839B-04B339DCFD4D}"/>
                  </a:ext>
                </a:extLst>
              </p:cNvPr>
              <p:cNvSpPr txBox="1"/>
              <p:nvPr/>
            </p:nvSpPr>
            <p:spPr>
              <a:xfrm>
                <a:off x="5472981" y="1712274"/>
                <a:ext cx="976792" cy="52370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anchor="t">
                <a:spAutoFit/>
              </a:bodyPr>
              <a:lstStyle/>
              <a:p>
                <a:pPr algn="ctr"/>
                <a:r>
                  <a:rPr sz="1300" b="1">
                    <a:solidFill>
                      <a:srgbClr val="484848"/>
                    </a:solidFill>
                    <a:latin typeface="Roboto"/>
                  </a:rPr>
                  <a:t>Data Export
Formats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34049034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1s2wmrLno._6pCV7LnEi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1s2wmrLno._6pCV7LnEi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1s2wmrLno._6pCV7LnE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1s2wmrLno._6pCV7LnEig"/>
</p:tagLst>
</file>

<file path=ppt/theme/theme1.xml><?xml version="1.0" encoding="utf-8"?>
<a:theme xmlns:a="http://schemas.openxmlformats.org/drawingml/2006/main" name="Theme1">
  <a:themeElements>
    <a:clrScheme name="Takeda 2021">
      <a:dk1>
        <a:srgbClr val="34373F"/>
      </a:dk1>
      <a:lt1>
        <a:srgbClr val="FFFFFF"/>
      </a:lt1>
      <a:dk2>
        <a:srgbClr val="34373F"/>
      </a:dk2>
      <a:lt2>
        <a:srgbClr val="FFFFFF"/>
      </a:lt2>
      <a:accent1>
        <a:srgbClr val="E1242A"/>
      </a:accent1>
      <a:accent2>
        <a:srgbClr val="891515"/>
      </a:accent2>
      <a:accent3>
        <a:srgbClr val="34373F"/>
      </a:accent3>
      <a:accent4>
        <a:srgbClr val="A1A4AC"/>
      </a:accent4>
      <a:accent5>
        <a:srgbClr val="EDF2F4"/>
      </a:accent5>
      <a:accent6>
        <a:srgbClr val="FFFFFF"/>
      </a:accent6>
      <a:hlink>
        <a:srgbClr val="34373F"/>
      </a:hlink>
      <a:folHlink>
        <a:srgbClr val="34373F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500" cap="flat">
          <a:noFill/>
          <a:prstDash val="solid"/>
          <a:miter/>
        </a:ln>
      </a:spPr>
      <a:bodyPr rtlCol="0" anchor="ctr"/>
      <a:lstStyle>
        <a:defPPr algn="l">
          <a:defRPr/>
        </a:defPPr>
      </a:lstStyle>
    </a:spDef>
  </a:objectDefaults>
  <a:extraClrSchemeLst/>
  <a:extLst>
    <a:ext uri="{05A4C25C-085E-4340-85A3-A5531E510DB2}">
      <thm15:themeFamily xmlns:thm15="http://schemas.microsoft.com/office/thememl/2012/main" name="Theme1" id="{DE18D612-9382-4E53-9BC5-FDECC0C70CF9}" vid="{782A3DC6-BBBB-4680-854A-809AA1D5E7D6}"/>
    </a:ext>
  </a:extLst>
</a:theme>
</file>

<file path=ppt/theme/theme2.xml><?xml version="1.0" encoding="utf-8"?>
<a:theme xmlns:a="http://schemas.openxmlformats.org/drawingml/2006/main" name="Takeda Slide Master">
  <a:themeElements>
    <a:clrScheme name="Takeda 2021">
      <a:dk1>
        <a:srgbClr val="34373F"/>
      </a:dk1>
      <a:lt1>
        <a:srgbClr val="FFFFFF"/>
      </a:lt1>
      <a:dk2>
        <a:srgbClr val="34373F"/>
      </a:dk2>
      <a:lt2>
        <a:srgbClr val="FFFFFF"/>
      </a:lt2>
      <a:accent1>
        <a:srgbClr val="E1242A"/>
      </a:accent1>
      <a:accent2>
        <a:srgbClr val="891515"/>
      </a:accent2>
      <a:accent3>
        <a:srgbClr val="34373F"/>
      </a:accent3>
      <a:accent4>
        <a:srgbClr val="A1A4AC"/>
      </a:accent4>
      <a:accent5>
        <a:srgbClr val="EDF2F4"/>
      </a:accent5>
      <a:accent6>
        <a:srgbClr val="FFFFFF"/>
      </a:accent6>
      <a:hlink>
        <a:srgbClr val="34373F"/>
      </a:hlink>
      <a:folHlink>
        <a:srgbClr val="34373F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28575">
          <a:noFill/>
        </a:ln>
      </a:spPr>
      <a:bodyPr wrap="square" rtlCol="0" anchor="ctr"/>
      <a:lstStyle>
        <a:defPPr algn="ctr">
          <a:defRPr kumimoji="1" dirty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</a:objectDefaults>
  <a:extraClrSchemeLst/>
  <a:extLst>
    <a:ext uri="{05A4C25C-085E-4340-85A3-A5531E510DB2}">
      <thm15:themeFamily xmlns:thm15="http://schemas.microsoft.com/office/thememl/2012/main" name="DD&amp;T Slide Templates with Design Toolkit" id="{60B5146B-5A10-4EE7-9406-25981C7D95DE}" vid="{6EA4FE0A-3B7D-4264-A217-B6A8B46AE472}"/>
    </a:ext>
  </a:extLst>
</a:theme>
</file>

<file path=ppt/theme/theme3.xml><?xml version="1.0" encoding="utf-8"?>
<a:theme xmlns:a="http://schemas.openxmlformats.org/drawingml/2006/main" name="1_Takeda - DD&amp;T Slide Master">
  <a:themeElements>
    <a:clrScheme name="Takeda 2021">
      <a:dk1>
        <a:srgbClr val="34373F"/>
      </a:dk1>
      <a:lt1>
        <a:srgbClr val="FFFFFF"/>
      </a:lt1>
      <a:dk2>
        <a:srgbClr val="34373F"/>
      </a:dk2>
      <a:lt2>
        <a:srgbClr val="FFFFFF"/>
      </a:lt2>
      <a:accent1>
        <a:srgbClr val="E1242A"/>
      </a:accent1>
      <a:accent2>
        <a:srgbClr val="891515"/>
      </a:accent2>
      <a:accent3>
        <a:srgbClr val="34373F"/>
      </a:accent3>
      <a:accent4>
        <a:srgbClr val="A1A4AC"/>
      </a:accent4>
      <a:accent5>
        <a:srgbClr val="EDF2F4"/>
      </a:accent5>
      <a:accent6>
        <a:srgbClr val="FFFFFF"/>
      </a:accent6>
      <a:hlink>
        <a:srgbClr val="34373F"/>
      </a:hlink>
      <a:folHlink>
        <a:srgbClr val="34373F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500" cap="flat">
          <a:noFill/>
          <a:prstDash val="solid"/>
          <a:miter/>
        </a:ln>
      </a:spPr>
      <a:bodyPr rtlCol="0" anchor="ctr"/>
      <a:lstStyle>
        <a:defPPr algn="l">
          <a:defRPr/>
        </a:defPPr>
      </a:lstStyle>
    </a:spDef>
  </a:objectDefaults>
  <a:extraClrSchemeLst/>
  <a:extLst>
    <a:ext uri="{05A4C25C-085E-4340-85A3-A5531E510DB2}">
      <thm15:themeFamily xmlns:thm15="http://schemas.microsoft.com/office/thememl/2012/main" name="DD&amp;T Slide Templates with Design Toolkit" id="{60B5146B-5A10-4EE7-9406-25981C7D95DE}" vid="{23ABD846-B445-4C69-82D7-48B4230BD7AD}"/>
    </a:ext>
  </a:extLst>
</a:theme>
</file>

<file path=ppt/theme/theme4.xml><?xml version="1.0" encoding="utf-8"?>
<a:theme xmlns:a="http://schemas.openxmlformats.org/drawingml/2006/main" name="1_Takeda Slide Master">
  <a:themeElements>
    <a:clrScheme name="Takeda 2021">
      <a:dk1>
        <a:srgbClr val="34373F"/>
      </a:dk1>
      <a:lt1>
        <a:srgbClr val="FFFFFF"/>
      </a:lt1>
      <a:dk2>
        <a:srgbClr val="34373F"/>
      </a:dk2>
      <a:lt2>
        <a:srgbClr val="FFFFFF"/>
      </a:lt2>
      <a:accent1>
        <a:srgbClr val="E1242A"/>
      </a:accent1>
      <a:accent2>
        <a:srgbClr val="891515"/>
      </a:accent2>
      <a:accent3>
        <a:srgbClr val="34373F"/>
      </a:accent3>
      <a:accent4>
        <a:srgbClr val="A1A4AC"/>
      </a:accent4>
      <a:accent5>
        <a:srgbClr val="EDF2F4"/>
      </a:accent5>
      <a:accent6>
        <a:srgbClr val="FFFFFF"/>
      </a:accent6>
      <a:hlink>
        <a:srgbClr val="34373F"/>
      </a:hlink>
      <a:folHlink>
        <a:srgbClr val="34373F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28575">
          <a:noFill/>
        </a:ln>
      </a:spPr>
      <a:bodyPr wrap="square" rtlCol="0" anchor="ctr"/>
      <a:lstStyle>
        <a:defPPr algn="ctr">
          <a:defRPr kumimoji="1" dirty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</a:objectDefaults>
  <a:extraClrSchemeLst/>
  <a:extLst>
    <a:ext uri="{05A4C25C-085E-4340-85A3-A5531E510DB2}">
      <thm15:themeFamily xmlns:thm15="http://schemas.microsoft.com/office/thememl/2012/main" name="DD&amp;T Slide Templates with Design Toolkit" id="{60B5146B-5A10-4EE7-9406-25981C7D95DE}" vid="{F5386584-52DC-4314-9A34-0FAB5A063AE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1</Template>
  <TotalTime>360</TotalTime>
  <Words>1490</Words>
  <Application>Microsoft Office PowerPoint</Application>
  <PresentationFormat>On-screen Show (4:3)</PresentationFormat>
  <Paragraphs>238</Paragraphs>
  <Slides>21</Slides>
  <Notes>0</Notes>
  <HiddenSlides>8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1" baseType="lpstr">
      <vt:lpstr>Arial</vt:lpstr>
      <vt:lpstr>Calibri</vt:lpstr>
      <vt:lpstr>Open Sans</vt:lpstr>
      <vt:lpstr>Open Sans Semibold</vt:lpstr>
      <vt:lpstr>Roboto</vt:lpstr>
      <vt:lpstr>Theme1</vt:lpstr>
      <vt:lpstr>Takeda Slide Master</vt:lpstr>
      <vt:lpstr>1_Takeda - DD&amp;T Slide Master</vt:lpstr>
      <vt:lpstr>1_Takeda Slide Master</vt:lpstr>
      <vt:lpstr>think-cell Slide</vt:lpstr>
      <vt:lpstr>MLOps Utility for Real-Time Data Drift &amp; Quality Monitoring</vt:lpstr>
      <vt:lpstr>PowerPoint Presentation</vt:lpstr>
      <vt:lpstr>DataDriftSDK: Features</vt:lpstr>
      <vt:lpstr>DataQualitySDK Delivers Comprehensive Data Profiling</vt:lpstr>
      <vt:lpstr>Optimizing Model Performance with ModelMonitoringSDK</vt:lpstr>
      <vt:lpstr>Comprehensive Monitoring Utility Advantages</vt:lpstr>
      <vt:lpstr>Seamless Integration Across ML Workflows</vt:lpstr>
      <vt:lpstr>Driving Scalable, Transparent, and Compliant ML Operations</vt:lpstr>
      <vt:lpstr>Platform - Agnostic Design: Flexible Multi - Environment Support</vt:lpstr>
      <vt:lpstr>Transforming Operations with Automation</vt:lpstr>
      <vt:lpstr>Continuous Monitoring for Reliable Machine Learning</vt:lpstr>
      <vt:lpstr>Future Scope: Expanding Monitoring Capabilities </vt:lpstr>
      <vt:lpstr>      Thank You!!!</vt:lpstr>
      <vt:lpstr>Future Scope: Expanding Monitoring Capabilities</vt:lpstr>
      <vt:lpstr>Platform - Agnostic Design: Flexible Multi - Environment Support</vt:lpstr>
      <vt:lpstr>Comprehensive Metrics Tracking for Robust Governance</vt:lpstr>
      <vt:lpstr>Stakeholders Empowered by Monitoring</vt:lpstr>
      <vt:lpstr>Driving Scalable, Transparent, and Compliant ML Operations</vt:lpstr>
      <vt:lpstr>Seamless Integration Across ML Workflows</vt:lpstr>
      <vt:lpstr>Modular SDKs Simplifying MLOps Monitoring</vt:lpstr>
      <vt:lpstr>Comprehensive Monitoring Utility Advantage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Gupta, Yash</dc:creator>
  <cp:keywords/>
  <dc:description>generated using python-pptx</dc:description>
  <cp:lastModifiedBy>Gupta, Yash</cp:lastModifiedBy>
  <cp:revision>9</cp:revision>
  <dcterms:created xsi:type="dcterms:W3CDTF">2013-01-27T09:14:16Z</dcterms:created>
  <dcterms:modified xsi:type="dcterms:W3CDTF">2025-11-11T10:27:48Z</dcterms:modified>
  <cp:category/>
</cp:coreProperties>
</file>